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700" r:id="rId3"/>
  </p:sldMasterIdLst>
  <p:notesMasterIdLst>
    <p:notesMasterId r:id="rId27"/>
  </p:notesMasterIdLst>
  <p:sldIdLst>
    <p:sldId id="260" r:id="rId4"/>
    <p:sldId id="291" r:id="rId5"/>
    <p:sldId id="293" r:id="rId6"/>
    <p:sldId id="294" r:id="rId7"/>
    <p:sldId id="30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96" r:id="rId17"/>
    <p:sldId id="297" r:id="rId18"/>
    <p:sldId id="298" r:id="rId19"/>
    <p:sldId id="299" r:id="rId20"/>
    <p:sldId id="300" r:id="rId21"/>
    <p:sldId id="302" r:id="rId22"/>
    <p:sldId id="303" r:id="rId23"/>
    <p:sldId id="278" r:id="rId24"/>
    <p:sldId id="280" r:id="rId25"/>
    <p:sldId id="279" r:id="rId2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116" d="100"/>
          <a:sy n="116" d="100"/>
        </p:scale>
        <p:origin x="217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734003855422344E-2"/>
          <c:y val="2.2383611853424606E-2"/>
          <c:w val="0.93600305228700353"/>
          <c:h val="0.73731614982899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STORIYA (NMZHK GRUPPA KOMPANIY)</c:v>
                </c:pt>
              </c:strCache>
            </c:strRef>
          </c:tx>
          <c:spPr>
            <a:ln w="31750">
              <a:solidFill>
                <a:srgbClr val="7030A0"/>
              </a:solidFill>
            </a:ln>
          </c:spPr>
          <c:marker>
            <c:symbol val="square"/>
            <c:size val="10"/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dLbls>
            <c:dLbl>
              <c:idx val="0"/>
              <c:layout>
                <c:manualLayout>
                  <c:x val="-4.2134831460674156E-2"/>
                  <c:y val="-2.27513269218780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9325842696629185E-2"/>
                  <c:y val="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-4.2134831460674156E-3"/>
                  <c:y val="-1.82012406818088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B$2:$B$17</c:f>
              <c:numCache>
                <c:formatCode>#,##0.0;\-#,##0.0</c:formatCode>
                <c:ptCount val="16"/>
                <c:pt idx="0">
                  <c:v>6.8203589999999998</c:v>
                </c:pt>
                <c:pt idx="1">
                  <c:v>8.5092320000000008</c:v>
                </c:pt>
                <c:pt idx="3">
                  <c:v>6.8203589999999998</c:v>
                </c:pt>
                <c:pt idx="4">
                  <c:v>6.1819899999999999</c:v>
                </c:pt>
                <c:pt idx="5">
                  <c:v>6.6674949999999997</c:v>
                </c:pt>
                <c:pt idx="6">
                  <c:v>7.6765499999999998</c:v>
                </c:pt>
                <c:pt idx="7">
                  <c:v>7.7712500000000002</c:v>
                </c:pt>
                <c:pt idx="8">
                  <c:v>7.5354960000000002</c:v>
                </c:pt>
                <c:pt idx="9">
                  <c:v>7.9135970000000002</c:v>
                </c:pt>
                <c:pt idx="10">
                  <c:v>8.4913349999999994</c:v>
                </c:pt>
                <c:pt idx="11">
                  <c:v>8.3648690000000006</c:v>
                </c:pt>
                <c:pt idx="12">
                  <c:v>8.8012990000000002</c:v>
                </c:pt>
                <c:pt idx="13">
                  <c:v>7.9872480000000001</c:v>
                </c:pt>
                <c:pt idx="14">
                  <c:v>9.0477170000000005</c:v>
                </c:pt>
                <c:pt idx="15">
                  <c:v>8.509232000000000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LVE (UNILEVER)</c:v>
                </c:pt>
              </c:strCache>
            </c:strRef>
          </c:tx>
          <c:spPr>
            <a:ln w="31750">
              <a:solidFill>
                <a:srgbClr val="FFFF00"/>
              </a:solidFill>
            </a:ln>
          </c:spPr>
          <c:marker>
            <c:symbol val="square"/>
            <c:size val="10"/>
            <c:spPr>
              <a:solidFill>
                <a:srgbClr val="FFFF00"/>
              </a:solidFill>
              <a:ln>
                <a:solidFill>
                  <a:srgbClr val="FFFF00"/>
                </a:solidFill>
              </a:ln>
            </c:spPr>
          </c:marker>
          <c:dLbls>
            <c:dLbl>
              <c:idx val="0"/>
              <c:layout>
                <c:manualLayout>
                  <c:x val="-4.2134831460674156E-2"/>
                  <c:y val="-4.7777786535943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4044943820224719E-3"/>
                  <c:y val="9.10053076875121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9157303370786491E-2"/>
                  <c:y val="2.27513269218780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0"/>
                  <c:y val="6.825398076563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C$2:$C$17</c:f>
              <c:numCache>
                <c:formatCode>#,##0.0;\-#,##0.0</c:formatCode>
                <c:ptCount val="16"/>
                <c:pt idx="0">
                  <c:v>8.3947210000000005</c:v>
                </c:pt>
                <c:pt idx="1">
                  <c:v>6.8710889999999996</c:v>
                </c:pt>
                <c:pt idx="3">
                  <c:v>8.3947210000000005</c:v>
                </c:pt>
                <c:pt idx="4">
                  <c:v>8.0352049999999995</c:v>
                </c:pt>
                <c:pt idx="5">
                  <c:v>7.9413900000000002</c:v>
                </c:pt>
                <c:pt idx="6">
                  <c:v>8.0206890000000008</c:v>
                </c:pt>
                <c:pt idx="7">
                  <c:v>7.6399239999999997</c:v>
                </c:pt>
                <c:pt idx="8">
                  <c:v>7.3425240000000001</c:v>
                </c:pt>
                <c:pt idx="9">
                  <c:v>8.5090140000000005</c:v>
                </c:pt>
                <c:pt idx="10">
                  <c:v>7.9918889999999996</c:v>
                </c:pt>
                <c:pt idx="11">
                  <c:v>7.5434570000000001</c:v>
                </c:pt>
                <c:pt idx="12">
                  <c:v>6.8499980000000003</c:v>
                </c:pt>
                <c:pt idx="13">
                  <c:v>6.8556780000000002</c:v>
                </c:pt>
                <c:pt idx="14">
                  <c:v>6.2293149999999997</c:v>
                </c:pt>
                <c:pt idx="15">
                  <c:v>6.871088999999999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OLMIO (MARS)</c:v>
                </c:pt>
              </c:strCache>
            </c:strRef>
          </c:tx>
          <c:spPr>
            <a:ln w="31750">
              <a:solidFill>
                <a:schemeClr val="accent5">
                  <a:lumMod val="50000"/>
                </a:schemeClr>
              </a:solidFill>
            </a:ln>
          </c:spPr>
          <c:marker>
            <c:symbol val="square"/>
            <c:size val="10"/>
            <c:spPr>
              <a:solidFill>
                <a:schemeClr val="accent5">
                  <a:lumMod val="50000"/>
                </a:schemeClr>
              </a:solidFill>
              <a:ln>
                <a:solidFill>
                  <a:schemeClr val="accent5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4.3539325842696631E-2"/>
                  <c:y val="-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8089887640449437E-3"/>
                  <c:y val="-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7752808988764071E-2"/>
                  <c:y val="1.365079615312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-4.2135937361762361E-3"/>
                  <c:y val="-4.55026538437560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D$2:$D$17</c:f>
              <c:numCache>
                <c:formatCode>#,##0.0;\-#,##0.0</c:formatCode>
                <c:ptCount val="16"/>
                <c:pt idx="0">
                  <c:v>8.2158479999999994</c:v>
                </c:pt>
                <c:pt idx="1">
                  <c:v>7.7343260000000003</c:v>
                </c:pt>
                <c:pt idx="3">
                  <c:v>8.2158479999999994</c:v>
                </c:pt>
                <c:pt idx="4">
                  <c:v>8.5369240000000008</c:v>
                </c:pt>
                <c:pt idx="5">
                  <c:v>6.9529209999999999</c:v>
                </c:pt>
                <c:pt idx="6">
                  <c:v>7.7016020000000003</c:v>
                </c:pt>
                <c:pt idx="7">
                  <c:v>6.5534999999999997</c:v>
                </c:pt>
                <c:pt idx="8">
                  <c:v>5.9252560000000001</c:v>
                </c:pt>
                <c:pt idx="9">
                  <c:v>6.259817</c:v>
                </c:pt>
                <c:pt idx="10">
                  <c:v>6.8431740000000003</c:v>
                </c:pt>
                <c:pt idx="11">
                  <c:v>6.674658</c:v>
                </c:pt>
                <c:pt idx="12">
                  <c:v>7.1027639999999996</c:v>
                </c:pt>
                <c:pt idx="13">
                  <c:v>8.8881920000000001</c:v>
                </c:pt>
                <c:pt idx="14">
                  <c:v>6.2089699999999999</c:v>
                </c:pt>
                <c:pt idx="15">
                  <c:v>7.734326000000000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EINZ (HEINZ CO.)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square"/>
            <c:size val="1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0"/>
              <c:layout>
                <c:manualLayout>
                  <c:x val="-3.5112359550561793E-2"/>
                  <c:y val="-3.8677255767192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5112359550561772E-2"/>
                  <c:y val="-3.64021230750048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8089887640449437E-2"/>
                  <c:y val="-3.1851857690629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2.8089887640449437E-2"/>
                  <c:y val="-4.09523884593804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2.5280898876404393E-2"/>
                  <c:y val="2.730159230625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-2.9494382022471909E-2"/>
                  <c:y val="4.09523884593804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-2.5280898876404494E-2"/>
                  <c:y val="3.4126990382817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E$2:$E$17</c:f>
              <c:numCache>
                <c:formatCode>#,##0.0;\-#,##0.0</c:formatCode>
                <c:ptCount val="16"/>
                <c:pt idx="0">
                  <c:v>14.31053</c:v>
                </c:pt>
                <c:pt idx="1">
                  <c:v>12.284852000000001</c:v>
                </c:pt>
                <c:pt idx="3">
                  <c:v>14.31053</c:v>
                </c:pt>
                <c:pt idx="4">
                  <c:v>13.562734000000001</c:v>
                </c:pt>
                <c:pt idx="5">
                  <c:v>14.752399</c:v>
                </c:pt>
                <c:pt idx="6">
                  <c:v>13.878335999999999</c:v>
                </c:pt>
                <c:pt idx="7">
                  <c:v>14.866080999999999</c:v>
                </c:pt>
                <c:pt idx="8">
                  <c:v>16.603919999999999</c:v>
                </c:pt>
                <c:pt idx="9">
                  <c:v>14.162072999999999</c:v>
                </c:pt>
                <c:pt idx="10">
                  <c:v>12.557382</c:v>
                </c:pt>
                <c:pt idx="11">
                  <c:v>13.064863000000001</c:v>
                </c:pt>
                <c:pt idx="12">
                  <c:v>14.714202</c:v>
                </c:pt>
                <c:pt idx="13">
                  <c:v>15.135199999999999</c:v>
                </c:pt>
                <c:pt idx="14">
                  <c:v>13.706056999999999</c:v>
                </c:pt>
                <c:pt idx="15">
                  <c:v>12.28485200000000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KIKKOMAN (KIKKOMAN/JAPAN)</c:v>
                </c:pt>
              </c:strCache>
            </c:strRef>
          </c:tx>
          <c:spPr>
            <a:ln w="31750">
              <a:solidFill>
                <a:schemeClr val="accent6">
                  <a:lumMod val="75000"/>
                </a:schemeClr>
              </a:solidFill>
            </a:ln>
          </c:spPr>
          <c:marker>
            <c:symbol val="square"/>
            <c:size val="10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4.073033707865168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8089887640449437E-3"/>
                  <c:y val="-2.27531183649427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4943820224719072E-2"/>
                  <c:y val="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1235955056179775E-2"/>
                  <c:y val="3.64021230750048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5449438202247191E-2"/>
                  <c:y val="3.41269903828171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2.1067526320445899E-2"/>
                  <c:y val="2.95767249984414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8.4269662921348312E-3"/>
                  <c:y val="2.5026459614065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5.6179775280898875E-3"/>
                  <c:y val="2.0476194229690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4.2134831460674156E-3"/>
                  <c:y val="2.0476194229690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1.4044943820224719E-3"/>
                  <c:y val="1.59259288453147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9.8314606741572007E-3"/>
                  <c:y val="2.2751326921878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1.2640449438202144E-2"/>
                  <c:y val="2.0476194229690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-7.0224719101123594E-3"/>
                  <c:y val="2.730159230625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-2.8089887640449437E-3"/>
                  <c:y val="-1.82010615375024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1.4044943820224719E-3"/>
                  <c:y val="6.82521893225693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F$2:$F$17</c:f>
              <c:numCache>
                <c:formatCode>#,##0.0;\-#,##0.0</c:formatCode>
                <c:ptCount val="16"/>
                <c:pt idx="0">
                  <c:v>6.0973319999999998</c:v>
                </c:pt>
                <c:pt idx="1">
                  <c:v>4.7116170000000004</c:v>
                </c:pt>
                <c:pt idx="3">
                  <c:v>6.0973319999999998</c:v>
                </c:pt>
                <c:pt idx="4">
                  <c:v>5.7285469999999998</c:v>
                </c:pt>
                <c:pt idx="5">
                  <c:v>6.0234889999999996</c:v>
                </c:pt>
                <c:pt idx="6">
                  <c:v>5.2984220000000004</c:v>
                </c:pt>
                <c:pt idx="7">
                  <c:v>5.3866680000000002</c:v>
                </c:pt>
                <c:pt idx="8">
                  <c:v>5.1490159999999996</c:v>
                </c:pt>
                <c:pt idx="9">
                  <c:v>5.149235</c:v>
                </c:pt>
                <c:pt idx="10">
                  <c:v>4.8497019999999997</c:v>
                </c:pt>
                <c:pt idx="11">
                  <c:v>5.6930579999999997</c:v>
                </c:pt>
                <c:pt idx="12">
                  <c:v>4.8693609999999996</c:v>
                </c:pt>
                <c:pt idx="13">
                  <c:v>4.5090219999999999</c:v>
                </c:pt>
                <c:pt idx="14">
                  <c:v>5.4407189999999996</c:v>
                </c:pt>
                <c:pt idx="15">
                  <c:v>4.711617000000000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OYA SEMYA (HEINZ CO.)</c:v>
                </c:pt>
              </c:strCache>
            </c:strRef>
          </c:tx>
          <c:spPr>
            <a:ln w="31750">
              <a:solidFill>
                <a:srgbClr val="00B050"/>
              </a:solidFill>
            </a:ln>
          </c:spPr>
          <c:marker>
            <c:symbol val="square"/>
            <c:size val="1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</c:spPr>
          </c:marker>
          <c:dLbls>
            <c:dLbl>
              <c:idx val="0"/>
              <c:layout>
                <c:manualLayout>
                  <c:x val="-4.49438202247191E-2"/>
                  <c:y val="1.59257497010082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1059010882066708E-7"/>
                  <c:y val="-1.5925928845314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056179775280896E-2"/>
                  <c:y val="1.1375484316632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6179775280898875E-3"/>
                  <c:y val="-2.0476194229690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8.4269662921348312E-3"/>
                  <c:y val="-2.2751326921878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2.2471910112359602E-2"/>
                  <c:y val="-2.730159230625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2.9494382022471909E-2"/>
                  <c:y val="-2.50264596140659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2.8089887640449437E-3"/>
                  <c:y val="-1.36507961531267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2.5280898876404494E-2"/>
                  <c:y val="-2.73015923062537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-2.5280898876404494E-2"/>
                  <c:y val="-2.50264596140658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3876404494381921E-2"/>
                  <c:y val="-3.1851857690629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2.6685393258426865E-2"/>
                  <c:y val="-3.1851857690629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-2.5280898876404494E-2"/>
                  <c:y val="-3.1851857690629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-2.5280898876404494E-2"/>
                  <c:y val="-2.95769041427479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0"/>
                  <c:y val="-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G$2:$G$17</c:f>
              <c:numCache>
                <c:formatCode>#,##0.0;\-#,##0.0</c:formatCode>
                <c:ptCount val="16"/>
                <c:pt idx="0">
                  <c:v>0.81689999999999996</c:v>
                </c:pt>
                <c:pt idx="1">
                  <c:v>0.69014699999999995</c:v>
                </c:pt>
                <c:pt idx="3">
                  <c:v>0.81689999999999996</c:v>
                </c:pt>
                <c:pt idx="4">
                  <c:v>0.76263499999999995</c:v>
                </c:pt>
                <c:pt idx="5">
                  <c:v>0.71571899999999999</c:v>
                </c:pt>
                <c:pt idx="6">
                  <c:v>0.71064000000000005</c:v>
                </c:pt>
                <c:pt idx="7">
                  <c:v>0.76044100000000003</c:v>
                </c:pt>
                <c:pt idx="8">
                  <c:v>0.77145399999999997</c:v>
                </c:pt>
                <c:pt idx="9">
                  <c:v>0.75528300000000004</c:v>
                </c:pt>
                <c:pt idx="10">
                  <c:v>0.69864599999999999</c:v>
                </c:pt>
                <c:pt idx="11">
                  <c:v>0.669817</c:v>
                </c:pt>
                <c:pt idx="12">
                  <c:v>0.68834200000000001</c:v>
                </c:pt>
                <c:pt idx="13">
                  <c:v>0.59120600000000001</c:v>
                </c:pt>
                <c:pt idx="14">
                  <c:v>0.65602800000000006</c:v>
                </c:pt>
                <c:pt idx="15">
                  <c:v>0.6901469999999999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MR.RICCO (NEFIS GROUP/KAZAN`)</c:v>
                </c:pt>
              </c:strCache>
            </c:strRef>
          </c:tx>
          <c:spPr>
            <a:ln w="31750">
              <a:solidFill>
                <a:schemeClr val="accent5">
                  <a:lumMod val="75000"/>
                </a:schemeClr>
              </a:solidFill>
            </a:ln>
          </c:spPr>
          <c:marker>
            <c:symbol val="square"/>
            <c:size val="10"/>
            <c:spPr>
              <a:solidFill>
                <a:schemeClr val="accent5">
                  <a:lumMod val="75000"/>
                </a:schemeClr>
              </a:solidFill>
              <a:ln>
                <a:solidFill>
                  <a:schemeClr val="accent5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4.2134831460674156E-2"/>
                  <c:y val="2.27513269218788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4044943820224719E-3"/>
                  <c:y val="1.5925928845314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3707865168539297E-2"/>
                  <c:y val="-3.18520368349357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-2.8089887640449437E-3"/>
                  <c:y val="4.55026538437560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H$2:$H$17</c:f>
              <c:numCache>
                <c:formatCode>#,##0.0;\-#,##0.0</c:formatCode>
                <c:ptCount val="16"/>
                <c:pt idx="0">
                  <c:v>1.51379</c:v>
                </c:pt>
                <c:pt idx="1">
                  <c:v>2.2773940000000001</c:v>
                </c:pt>
                <c:pt idx="3">
                  <c:v>1.51379</c:v>
                </c:pt>
                <c:pt idx="4">
                  <c:v>1.0141309999999999</c:v>
                </c:pt>
                <c:pt idx="5">
                  <c:v>1.3008360000000001</c:v>
                </c:pt>
                <c:pt idx="6">
                  <c:v>1.9663349999999999</c:v>
                </c:pt>
                <c:pt idx="7">
                  <c:v>1.8008059999999999</c:v>
                </c:pt>
                <c:pt idx="8">
                  <c:v>2.394441</c:v>
                </c:pt>
                <c:pt idx="9">
                  <c:v>2.682566</c:v>
                </c:pt>
                <c:pt idx="10">
                  <c:v>3.0666030000000002</c:v>
                </c:pt>
                <c:pt idx="11">
                  <c:v>4.4013070000000001</c:v>
                </c:pt>
                <c:pt idx="12">
                  <c:v>3.3547400000000001</c:v>
                </c:pt>
                <c:pt idx="13">
                  <c:v>3.0443720000000001</c:v>
                </c:pt>
                <c:pt idx="14">
                  <c:v>2.9800589999999998</c:v>
                </c:pt>
                <c:pt idx="15">
                  <c:v>2.2773940000000001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IKADOR (HEINZ CO.)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x"/>
            <c:size val="1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0"/>
              <c:layout>
                <c:manualLayout>
                  <c:x val="-4.3539325842696631E-2"/>
                  <c:y val="2.27513269218780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4044943820224719E-3"/>
                  <c:y val="1.13756634609390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9157303370786491E-2"/>
                  <c:y val="-6.825398076563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0"/>
                  <c:y val="9.10053076875121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900" b="1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I$2:$I$17</c:f>
              <c:numCache>
                <c:formatCode>#,##0.0;\-#,##0.0</c:formatCode>
                <c:ptCount val="16"/>
                <c:pt idx="0">
                  <c:v>1.07283</c:v>
                </c:pt>
                <c:pt idx="1">
                  <c:v>0.52926099999999998</c:v>
                </c:pt>
                <c:pt idx="3">
                  <c:v>1.07283</c:v>
                </c:pt>
                <c:pt idx="4">
                  <c:v>1.0656080000000001</c:v>
                </c:pt>
                <c:pt idx="5">
                  <c:v>1.065768</c:v>
                </c:pt>
                <c:pt idx="6">
                  <c:v>1.0200940000000001</c:v>
                </c:pt>
                <c:pt idx="7">
                  <c:v>0.90898100000000004</c:v>
                </c:pt>
                <c:pt idx="8">
                  <c:v>0.77406600000000003</c:v>
                </c:pt>
                <c:pt idx="9">
                  <c:v>0.65486699999999998</c:v>
                </c:pt>
                <c:pt idx="10">
                  <c:v>0.61460400000000004</c:v>
                </c:pt>
                <c:pt idx="11">
                  <c:v>0.57823500000000005</c:v>
                </c:pt>
                <c:pt idx="12">
                  <c:v>0.58355999999999997</c:v>
                </c:pt>
                <c:pt idx="13">
                  <c:v>0.55056099999999997</c:v>
                </c:pt>
                <c:pt idx="14">
                  <c:v>0.51958599999999999</c:v>
                </c:pt>
                <c:pt idx="15">
                  <c:v>0.52926099999999998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STEBEL BAMBUKA (SINKO GROUP/MOSKVA)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x"/>
            <c:size val="10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</c:spPr>
          </c:marker>
          <c:dLbls>
            <c:dLbl>
              <c:idx val="0"/>
              <c:layout>
                <c:manualLayout>
                  <c:x val="-4.0730337078651688E-2"/>
                  <c:y val="1.365079615312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1.5925928845314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9157303370786491E-2"/>
                  <c:y val="-2.50264596140658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layout>
                <c:manualLayout>
                  <c:x val="-4.2134831460674156E-3"/>
                  <c:y val="-2.2751326921878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900" b="1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7</c:f>
              <c:strCache>
                <c:ptCount val="16"/>
                <c:pt idx="0">
                  <c:v>Feb 2014</c:v>
                </c:pt>
                <c:pt idx="1">
                  <c:v>Feb 2015</c:v>
                </c:pt>
                <c:pt idx="3">
                  <c:v>Feb 2014</c:v>
                </c:pt>
                <c:pt idx="4">
                  <c:v>Mar 2014</c:v>
                </c:pt>
                <c:pt idx="5">
                  <c:v>Apr 2014</c:v>
                </c:pt>
                <c:pt idx="6">
                  <c:v>May 2014</c:v>
                </c:pt>
                <c:pt idx="7">
                  <c:v>Jun 2014</c:v>
                </c:pt>
                <c:pt idx="8">
                  <c:v>Jul 2014</c:v>
                </c:pt>
                <c:pt idx="9">
                  <c:v>Aug 2014</c:v>
                </c:pt>
                <c:pt idx="10">
                  <c:v>Sep 2014</c:v>
                </c:pt>
                <c:pt idx="11">
                  <c:v>Oct 2014</c:v>
                </c:pt>
                <c:pt idx="12">
                  <c:v>Nov 2014</c:v>
                </c:pt>
                <c:pt idx="13">
                  <c:v>Dec 2014</c:v>
                </c:pt>
                <c:pt idx="14">
                  <c:v>Jan 2015</c:v>
                </c:pt>
                <c:pt idx="15">
                  <c:v>Feb 2015</c:v>
                </c:pt>
              </c:strCache>
            </c:strRef>
          </c:cat>
          <c:val>
            <c:numRef>
              <c:f>Sheet1!$J$2:$J$17</c:f>
              <c:numCache>
                <c:formatCode>#,##0.0;\-#,##0.0</c:formatCode>
                <c:ptCount val="16"/>
                <c:pt idx="0">
                  <c:v>8.4585899999999992</c:v>
                </c:pt>
                <c:pt idx="1">
                  <c:v>9.0724459999999993</c:v>
                </c:pt>
                <c:pt idx="3">
                  <c:v>8.4585899999999992</c:v>
                </c:pt>
                <c:pt idx="4">
                  <c:v>8.719239</c:v>
                </c:pt>
                <c:pt idx="5">
                  <c:v>8.7887590000000007</c:v>
                </c:pt>
                <c:pt idx="6">
                  <c:v>8.3770319999999998</c:v>
                </c:pt>
                <c:pt idx="7">
                  <c:v>8.5439810000000005</c:v>
                </c:pt>
                <c:pt idx="8">
                  <c:v>7.804265</c:v>
                </c:pt>
                <c:pt idx="9">
                  <c:v>7.285768</c:v>
                </c:pt>
                <c:pt idx="10">
                  <c:v>7.8277570000000001</c:v>
                </c:pt>
                <c:pt idx="11">
                  <c:v>7.5606070000000001</c:v>
                </c:pt>
                <c:pt idx="12">
                  <c:v>8.2676739999999995</c:v>
                </c:pt>
                <c:pt idx="13">
                  <c:v>8.0461469999999995</c:v>
                </c:pt>
                <c:pt idx="14">
                  <c:v>8.5890299999999993</c:v>
                </c:pt>
                <c:pt idx="15">
                  <c:v>9.072445999999999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367456"/>
        <c:axId val="116368016"/>
      </c:lineChart>
      <c:catAx>
        <c:axId val="116367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16368016"/>
        <c:crosses val="autoZero"/>
        <c:auto val="1"/>
        <c:lblAlgn val="ctr"/>
        <c:lblOffset val="100"/>
        <c:noMultiLvlLbl val="0"/>
      </c:catAx>
      <c:valAx>
        <c:axId val="116368016"/>
        <c:scaling>
          <c:orientation val="minMax"/>
          <c:max val="18"/>
          <c:min val="0"/>
        </c:scaling>
        <c:delete val="0"/>
        <c:axPos val="l"/>
        <c:numFmt formatCode="#,##0.0;\-#,##0.0" sourceLinked="1"/>
        <c:majorTickMark val="out"/>
        <c:minorTickMark val="none"/>
        <c:tickLblPos val="nextTo"/>
        <c:crossAx val="11636745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2.7233146067415729E-2"/>
          <c:y val="0.83455575436592588"/>
          <c:w val="0.86688202247191015"/>
          <c:h val="0.14269291871219608"/>
        </c:manualLayout>
      </c:layout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2DCDA8-B931-4A96-B9F1-6D498D9BF3D8}" type="datetimeFigureOut">
              <a:rPr lang="ru-RU" smtClean="0"/>
              <a:t>09.10.2015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F01EFF-61DF-4A8C-92C0-0E26051E5D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7122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5178" y="8685257"/>
            <a:ext cx="2971207" cy="457272"/>
          </a:xfrm>
          <a:prstGeom prst="rect">
            <a:avLst/>
          </a:prstGeom>
          <a:ln/>
        </p:spPr>
        <p:txBody>
          <a:bodyPr/>
          <a:lstStyle/>
          <a:p>
            <a:fld id="{03DD0BC2-EB41-4516-86EA-63006C508638}" type="slidenum">
              <a:rPr lang="ru-RU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5175" cy="3432175"/>
          </a:xfrm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505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10"/>
          <p:cNvSpPr/>
          <p:nvPr userDrawn="1">
            <p:custDataLst>
              <p:tags r:id="rId3"/>
            </p:custDataLst>
          </p:nvPr>
        </p:nvSpPr>
        <p:spPr bwMode="auto">
          <a:xfrm>
            <a:off x="0" y="3573016"/>
            <a:ext cx="9144000" cy="2999901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82550"/>
          </a:sp3d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2000" y="1412875"/>
            <a:ext cx="1800225" cy="7207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29088" y="30051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13" descr="NewHZFSlogo Larg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6488" y="679450"/>
            <a:ext cx="4392612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48531" y="4158208"/>
            <a:ext cx="7246938" cy="1143000"/>
          </a:xfrm>
        </p:spPr>
        <p:txBody>
          <a:bodyPr lIns="90488" rIns="90488" anchor="ctr"/>
          <a:lstStyle>
            <a:lvl1pPr algn="ctr">
              <a:defRPr sz="3900"/>
            </a:lvl1pPr>
          </a:lstStyle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48531" y="5373216"/>
            <a:ext cx="7246938" cy="1143472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675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A099F-57B8-42BA-96C5-E7CBBE305E10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4A815C-CDF5-49DF-AC4A-926388902BA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7942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32588" y="0"/>
            <a:ext cx="2087562" cy="6381750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11875" cy="6381750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A9CB45-D0A2-4031-AE8F-3A86CF028BC8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C3A24-DE23-476D-935E-14B7ADC10EC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940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9144000" cy="908720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82550"/>
          </a:sp3d>
        </p:spPr>
        <p:txBody>
          <a:bodyPr wrap="non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18" descr="NewHZFSlogo Larg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38" y="44450"/>
            <a:ext cx="1295400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288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482725" y="1990725"/>
            <a:ext cx="4389438" cy="1247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A75014C-59DF-409F-994E-397E17325A8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652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10"/>
          <p:cNvSpPr/>
          <p:nvPr userDrawn="1">
            <p:custDataLst>
              <p:tags r:id="rId3"/>
            </p:custDataLst>
          </p:nvPr>
        </p:nvSpPr>
        <p:spPr bwMode="auto">
          <a:xfrm>
            <a:off x="0" y="3573016"/>
            <a:ext cx="9144000" cy="2999901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82550"/>
          </a:sp3d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2000" y="1412875"/>
            <a:ext cx="1800225" cy="7207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29088" y="30051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000000"/>
              </a:solidFill>
            </a:endParaRPr>
          </a:p>
        </p:txBody>
      </p:sp>
      <p:pic>
        <p:nvPicPr>
          <p:cNvPr id="8" name="Picture 13" descr="NewHZFSlogo Larg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6488" y="679450"/>
            <a:ext cx="4392612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48531" y="4158208"/>
            <a:ext cx="7246938" cy="1143000"/>
          </a:xfrm>
        </p:spPr>
        <p:txBody>
          <a:bodyPr lIns="90488" rIns="90488" anchor="ctr"/>
          <a:lstStyle>
            <a:lvl1pPr algn="ctr">
              <a:defRPr sz="3900"/>
            </a:lvl1pPr>
          </a:lstStyle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48531" y="5373216"/>
            <a:ext cx="7246938" cy="1143472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516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B932FA-A05C-4F40-991A-9213788A9E3D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32B6F2-FB5C-4CA4-B6AE-F35509B37B8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2512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84DD6C-5208-45E6-A7D3-8D34863CF596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66E400-9E56-480F-A12D-A5CDB7F18A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4253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098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19638" y="1125538"/>
            <a:ext cx="4100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D4B03F-C2D5-4E84-8CF8-C45B30AB0B95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D41AB-86AF-47A5-808D-159FE0589B1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4197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5370D-6E01-4A57-A47B-F4DDC21293FE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826A6-C36F-4CD2-AC9C-B2DC4E9EAD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09654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CB7A2C-1C6D-42A0-A2EA-073F8FF03A74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C9754-97FD-4A1F-96FD-709719C2902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4543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9F1A6-BC9D-4276-9A98-B085722D5B90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BB196-DE12-4916-BA16-646563E7E87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482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7235D-557F-4880-991F-D69812063914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5929C-67C5-4FD2-A53B-5F04B72F591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46409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C85C24-3AC5-4067-A26A-057CE4AB44DF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6D4CF-C79E-454C-BEF9-11A00F3D86F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4430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AB87D4-40EF-4380-8729-9DDF1B74135B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D7BEB0-5568-449B-BB66-96A90A098A2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1023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3E05D-AB5B-43B9-83C5-256ACC9E071C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99F57-614F-49F0-AF12-1672F648CF9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2753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32588" y="0"/>
            <a:ext cx="2087562" cy="6381750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11875" cy="6381750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B77E6A-B231-4AE4-B863-704A67CF1B25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1929AD-1684-4864-8A24-DB40B0AF30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97588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ti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 txBox="1">
            <a:spLocks noChangeArrowheads="1"/>
          </p:cNvSpPr>
          <p:nvPr/>
        </p:nvSpPr>
        <p:spPr bwMode="auto">
          <a:xfrm>
            <a:off x="0" y="3552825"/>
            <a:ext cx="91440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240" tIns="0" rIns="457200" bIns="0"/>
          <a:lstStyle>
            <a:lvl1pPr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lnSpc>
                <a:spcPct val="85000"/>
              </a:lnSpc>
              <a:spcBef>
                <a:spcPct val="30000"/>
              </a:spcBef>
              <a:spcAft>
                <a:spcPct val="0"/>
              </a:spcAft>
              <a:buClr>
                <a:schemeClr val="bg1"/>
              </a:buClr>
              <a:buFont typeface="Arial" charset="0"/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lnSpc>
                <a:spcPct val="85000"/>
              </a:lnSpc>
              <a:spcBef>
                <a:spcPct val="30000"/>
              </a:spcBef>
              <a:spcAft>
                <a:spcPct val="0"/>
              </a:spcAft>
              <a:buClr>
                <a:schemeClr val="bg1"/>
              </a:buClr>
              <a:buFont typeface="Arial" charset="0"/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lnSpc>
                <a:spcPct val="85000"/>
              </a:lnSpc>
              <a:spcBef>
                <a:spcPct val="30000"/>
              </a:spcBef>
              <a:spcAft>
                <a:spcPct val="0"/>
              </a:spcAft>
              <a:buClr>
                <a:schemeClr val="bg1"/>
              </a:buClr>
              <a:buFont typeface="Arial" charset="0"/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lnSpc>
                <a:spcPct val="85000"/>
              </a:lnSpc>
              <a:spcBef>
                <a:spcPct val="30000"/>
              </a:spcBef>
              <a:spcAft>
                <a:spcPct val="0"/>
              </a:spcAft>
              <a:buClr>
                <a:schemeClr val="bg1"/>
              </a:buClr>
              <a:buFont typeface="Arial" charset="0"/>
              <a:tabLst>
                <a:tab pos="2628900" algn="l"/>
              </a:tabLst>
              <a:defRPr sz="20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spcBef>
                <a:spcPct val="45000"/>
              </a:spcBef>
              <a:buClr>
                <a:srgbClr val="FF0000"/>
              </a:buClr>
              <a:buFont typeface="Wingdings" pitchFamily="-96" charset="2"/>
              <a:buNone/>
              <a:defRPr/>
            </a:pPr>
            <a:r>
              <a:rPr lang="en-US" sz="1800" b="0" smtClean="0">
                <a:solidFill>
                  <a:srgbClr val="FFFFFF"/>
                </a:solidFill>
              </a:rPr>
              <a:t>Click to edit Master subtitle style</a:t>
            </a:r>
          </a:p>
        </p:txBody>
      </p:sp>
      <p:sp>
        <p:nvSpPr>
          <p:cNvPr id="6832140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0" y="3171825"/>
            <a:ext cx="9140825" cy="412750"/>
          </a:xfrm>
        </p:spPr>
        <p:txBody>
          <a:bodyPr lIns="777240">
            <a:normAutofit/>
          </a:bodyPr>
          <a:lstStyle>
            <a:lvl1pPr>
              <a:defRPr sz="3200" b="0" i="0" baseline="0">
                <a:solidFill>
                  <a:srgbClr val="CC0000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832141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0" y="3838575"/>
            <a:ext cx="9144000" cy="304800"/>
          </a:xfrm>
        </p:spPr>
        <p:txBody>
          <a:bodyPr>
            <a:normAutofit/>
          </a:bodyPr>
          <a:lstStyle>
            <a:lvl1pPr marL="0" indent="0">
              <a:buFont typeface="Wingdings" pitchFamily="-96" charset="2"/>
              <a:buNone/>
              <a:defRPr sz="1800" b="0" i="0" baseline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157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red_bot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7589520" cy="895351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E60C00"/>
              </a:buClr>
              <a:defRPr/>
            </a:lvl1pPr>
            <a:lvl2pPr>
              <a:buClr>
                <a:srgbClr val="E60C00"/>
              </a:buClr>
              <a:defRPr/>
            </a:lvl2pPr>
            <a:lvl3pPr>
              <a:buClr>
                <a:srgbClr val="E60C00"/>
              </a:buClr>
              <a:defRPr/>
            </a:lvl3pPr>
            <a:lvl4pPr>
              <a:buClr>
                <a:srgbClr val="E60C00"/>
              </a:buClr>
              <a:defRPr/>
            </a:lvl4pPr>
            <a:lvl5pPr>
              <a:buClr>
                <a:srgbClr val="E60C0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934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7589520" cy="895351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E60C00"/>
              </a:buClr>
              <a:defRPr/>
            </a:lvl1pPr>
            <a:lvl2pPr>
              <a:buClr>
                <a:srgbClr val="E60C00"/>
              </a:buClr>
              <a:defRPr/>
            </a:lvl2pPr>
            <a:lvl3pPr>
              <a:buClr>
                <a:srgbClr val="E60C00"/>
              </a:buClr>
              <a:defRPr/>
            </a:lvl3pPr>
            <a:lvl4pPr>
              <a:buClr>
                <a:srgbClr val="E60C00"/>
              </a:buClr>
              <a:defRPr/>
            </a:lvl4pPr>
            <a:lvl5pPr>
              <a:buClr>
                <a:srgbClr val="E60C0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6444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nz_visionValues_section_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1250"/>
            <a:ext cx="7553325" cy="1123950"/>
          </a:xfrm>
        </p:spPr>
        <p:txBody>
          <a:bodyPr lIns="777240"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836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nz_visionValues_section_blu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1250"/>
            <a:ext cx="7553325" cy="1123950"/>
          </a:xfrm>
        </p:spPr>
        <p:txBody>
          <a:bodyPr lIns="777240"/>
          <a:lstStyle>
            <a:lvl1pPr>
              <a:defRPr>
                <a:solidFill>
                  <a:srgbClr val="1673B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179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blu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E60C00"/>
              </a:buClr>
              <a:buNone/>
              <a:defRPr/>
            </a:lvl1pPr>
            <a:lvl2pPr>
              <a:buClr>
                <a:srgbClr val="1673B0"/>
              </a:buClr>
              <a:defRPr/>
            </a:lvl2pPr>
            <a:lvl3pPr>
              <a:buClr>
                <a:srgbClr val="1673B0"/>
              </a:buClr>
              <a:defRPr/>
            </a:lvl3pPr>
            <a:lvl4pPr>
              <a:buClr>
                <a:srgbClr val="1673B0"/>
              </a:buClr>
              <a:defRPr/>
            </a:lvl4pPr>
            <a:lvl5pPr>
              <a:buClr>
                <a:srgbClr val="1673B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3604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2D748E-B5CF-4DFF-9803-F218F1453CB9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28701-5687-4210-B29B-2F9A87E9AC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0427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blue_bot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1673B0"/>
              </a:buClr>
              <a:defRPr/>
            </a:lvl1pPr>
            <a:lvl2pPr>
              <a:buClr>
                <a:srgbClr val="1673B0"/>
              </a:buClr>
              <a:defRPr/>
            </a:lvl2pPr>
            <a:lvl3pPr>
              <a:buClr>
                <a:srgbClr val="1673B0"/>
              </a:buClr>
              <a:defRPr/>
            </a:lvl3pPr>
            <a:lvl4pPr>
              <a:buClr>
                <a:srgbClr val="1673B0"/>
              </a:buClr>
              <a:defRPr/>
            </a:lvl4pPr>
            <a:lvl5pPr>
              <a:buClr>
                <a:srgbClr val="1673B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895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nz_visionValues_section_gree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1250"/>
            <a:ext cx="7553325" cy="1123950"/>
          </a:xfrm>
        </p:spPr>
        <p:txBody>
          <a:bodyPr lIns="777240"/>
          <a:lstStyle>
            <a:lvl1pPr>
              <a:defRPr>
                <a:solidFill>
                  <a:srgbClr val="78AD3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9562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gree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78AD3B"/>
              </a:buClr>
              <a:defRPr/>
            </a:lvl1pPr>
            <a:lvl2pPr>
              <a:buClr>
                <a:srgbClr val="78AD3B"/>
              </a:buClr>
              <a:defRPr/>
            </a:lvl2pPr>
            <a:lvl3pPr>
              <a:buClr>
                <a:srgbClr val="78AD3B"/>
              </a:buClr>
              <a:defRPr/>
            </a:lvl3pPr>
            <a:lvl4pPr>
              <a:buClr>
                <a:srgbClr val="78AD3B"/>
              </a:buClr>
              <a:defRPr/>
            </a:lvl4pPr>
            <a:lvl5pPr>
              <a:buClr>
                <a:srgbClr val="78AD3B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2005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green_bot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78AD3B"/>
              </a:buClr>
              <a:defRPr/>
            </a:lvl1pPr>
            <a:lvl2pPr>
              <a:buClr>
                <a:srgbClr val="78AD3B"/>
              </a:buClr>
              <a:defRPr/>
            </a:lvl2pPr>
            <a:lvl3pPr>
              <a:buClr>
                <a:srgbClr val="78AD3B"/>
              </a:buClr>
              <a:defRPr/>
            </a:lvl3pPr>
            <a:lvl4pPr>
              <a:buClr>
                <a:srgbClr val="78AD3B"/>
              </a:buClr>
              <a:defRPr/>
            </a:lvl4pPr>
            <a:lvl5pPr>
              <a:buClr>
                <a:srgbClr val="78AD3B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0769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nz_visionValues_section_orang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1250"/>
            <a:ext cx="7553325" cy="1123950"/>
          </a:xfrm>
        </p:spPr>
        <p:txBody>
          <a:bodyPr lIns="777240"/>
          <a:lstStyle>
            <a:lvl1pPr>
              <a:defRPr>
                <a:solidFill>
                  <a:srgbClr val="EC942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8048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orang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EC942A"/>
              </a:buClr>
              <a:defRPr/>
            </a:lvl1pPr>
            <a:lvl2pPr>
              <a:buClr>
                <a:srgbClr val="EC942A"/>
              </a:buClr>
              <a:defRPr/>
            </a:lvl2pPr>
            <a:lvl3pPr>
              <a:buClr>
                <a:srgbClr val="EC942A"/>
              </a:buClr>
              <a:defRPr/>
            </a:lvl3pPr>
            <a:lvl4pPr>
              <a:buClr>
                <a:srgbClr val="EC942A"/>
              </a:buClr>
              <a:defRPr/>
            </a:lvl4pPr>
            <a:lvl5pPr>
              <a:buClr>
                <a:srgbClr val="EC942A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9474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orange_bot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EC942A"/>
              </a:buClr>
              <a:defRPr/>
            </a:lvl1pPr>
            <a:lvl2pPr>
              <a:buClr>
                <a:srgbClr val="EC942A"/>
              </a:buClr>
              <a:defRPr/>
            </a:lvl2pPr>
            <a:lvl3pPr>
              <a:buClr>
                <a:srgbClr val="EC942A"/>
              </a:buClr>
              <a:defRPr/>
            </a:lvl3pPr>
            <a:lvl4pPr>
              <a:buClr>
                <a:srgbClr val="EC942A"/>
              </a:buClr>
              <a:defRPr/>
            </a:lvl4pPr>
            <a:lvl5pPr>
              <a:buClr>
                <a:srgbClr val="EC942A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2728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hnz_visionValues_section_purp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1250"/>
            <a:ext cx="7553325" cy="1123950"/>
          </a:xfrm>
        </p:spPr>
        <p:txBody>
          <a:bodyPr lIns="777240"/>
          <a:lstStyle>
            <a:lvl1pPr>
              <a:defRPr>
                <a:solidFill>
                  <a:srgbClr val="970F7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1786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purp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970F75"/>
              </a:buClr>
              <a:defRPr/>
            </a:lvl1pPr>
            <a:lvl2pPr>
              <a:buClr>
                <a:srgbClr val="970F75"/>
              </a:buClr>
              <a:defRPr/>
            </a:lvl2pPr>
            <a:lvl3pPr>
              <a:buClr>
                <a:srgbClr val="970F75"/>
              </a:buClr>
              <a:defRPr/>
            </a:lvl3pPr>
            <a:lvl4pPr>
              <a:buClr>
                <a:srgbClr val="970F75"/>
              </a:buClr>
              <a:defRPr/>
            </a:lvl4pPr>
            <a:lvl5pPr>
              <a:buClr>
                <a:srgbClr val="970F75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1027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nz_visionValues_lower_purple_bottl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9525"/>
            <a:ext cx="7589520" cy="885826"/>
          </a:xfrm>
        </p:spPr>
        <p:txBody>
          <a:bodyPr rIns="0"/>
          <a:lstStyle>
            <a:lvl1pPr algn="l">
              <a:defRPr b="0" i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3949"/>
            <a:ext cx="9144000" cy="5267325"/>
          </a:xfrm>
        </p:spPr>
        <p:txBody>
          <a:bodyPr bIns="228600">
            <a:normAutofit/>
          </a:bodyPr>
          <a:lstStyle>
            <a:lvl1pPr>
              <a:buClr>
                <a:srgbClr val="970F75"/>
              </a:buClr>
              <a:defRPr/>
            </a:lvl1pPr>
            <a:lvl2pPr>
              <a:buClr>
                <a:srgbClr val="970F75"/>
              </a:buClr>
              <a:defRPr/>
            </a:lvl2pPr>
            <a:lvl3pPr>
              <a:buClr>
                <a:srgbClr val="970F75"/>
              </a:buClr>
              <a:defRPr/>
            </a:lvl3pPr>
            <a:lvl4pPr>
              <a:buClr>
                <a:srgbClr val="970F75"/>
              </a:buClr>
              <a:defRPr/>
            </a:lvl4pPr>
            <a:lvl5pPr>
              <a:buClr>
                <a:srgbClr val="970F75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542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098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19638" y="1125538"/>
            <a:ext cx="4100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C05BA-9298-4753-A982-4FA8E229BEEF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1F6E7B-FDA3-4407-81EC-37D50F1C434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9881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34925" y="6470650"/>
            <a:ext cx="21336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BCD0A4-5E3D-428C-92EE-27EA512608B2}" type="datetime5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-Oct-15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700338" y="6470650"/>
            <a:ext cx="381635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>
                <a:solidFill>
                  <a:srgbClr val="000000"/>
                </a:solidFill>
                <a:cs typeface="Arial" charset="0"/>
              </a:rPr>
              <a:t>Confidential  ©  H.J. Heinz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77050" y="6470650"/>
            <a:ext cx="19431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AE7C507-E8A4-46AD-AD31-20E8F39B0627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6289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34925" y="6470650"/>
            <a:ext cx="21336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84DD6C-5208-45E6-A7D3-8D34863CF596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700338" y="6470650"/>
            <a:ext cx="381635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77050" y="6470650"/>
            <a:ext cx="19431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66E400-9E56-480F-A12D-A5CDB7F18A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4253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34925" y="6470650"/>
            <a:ext cx="21336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9F1A6-BC9D-4276-9A98-B085722D5B90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700338" y="6470650"/>
            <a:ext cx="381635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877050" y="6470650"/>
            <a:ext cx="1943100" cy="404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BB196-DE12-4916-BA16-646563E7E87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34823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DE6E8-E0D1-4232-822F-0CAA68CF2201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4B542D-9AB9-4F02-A64A-A60DF588312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291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6D1FB3-423F-41AA-9094-46DE76E586BA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1D0064-240E-4EA8-ABEB-6560274EE21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7143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74B47-0CCE-42A6-9EF4-1AFB2DF83BDD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849EE-3D07-4B9A-A161-55DE9578DF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880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D094B-8B8C-4BCE-8547-7264D56C84B1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8CD26-5DAA-4DFF-A7D0-14B9EC8752D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056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56E39-6BD3-4706-9D02-B72EAA87A38B}" type="datetime5">
              <a:rPr lang="en-GB"/>
              <a:pPr>
                <a:defRPr/>
              </a:pPr>
              <a:t>9-Oct-15</a:t>
            </a:fld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19ED3-39C3-4CE9-854A-EE286098E5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358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4.vml"/><Relationship Id="rId18" Type="http://schemas.openxmlformats.org/officeDocument/2006/relationships/tags" Target="../tags/tag52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5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tags" Target="../tags/tag51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4.jpeg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5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8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2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/>
          <p:cNvSpPr/>
          <p:nvPr>
            <p:custDataLst>
              <p:tags r:id="rId16"/>
            </p:custDataLst>
          </p:nvPr>
        </p:nvSpPr>
        <p:spPr bwMode="auto">
          <a:xfrm>
            <a:off x="0" y="0"/>
            <a:ext cx="9144000" cy="908720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82550"/>
          </a:sp3d>
        </p:spPr>
        <p:txBody>
          <a:bodyPr wrap="non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198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68313" y="1125538"/>
            <a:ext cx="8351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8199" name="Rectangle 4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468313" y="0"/>
            <a:ext cx="7199312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" tIns="44450" rIns="18000" bIns="44450" numCol="1" anchor="b" anchorCtr="0" compatLnSpc="1">
            <a:prstTxWarp prst="textNoShape">
              <a:avLst/>
            </a:prstTxWarp>
          </a:bodyPr>
          <a:lstStyle/>
          <a:p>
            <a:pPr lvl="0"/>
            <a:endParaRPr lang="nl-NL" smtClean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34925" y="6470650"/>
            <a:ext cx="213360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 b="0">
                <a:solidFill>
                  <a:srgbClr val="808080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AA9970D-D08F-4991-A706-5FE32E276AF0}" type="datetime5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-Oct-15</a:t>
            </a:fld>
            <a:endParaRPr lang="en-GB"/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2700338" y="6470650"/>
            <a:ext cx="381635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 b="0">
                <a:solidFill>
                  <a:srgbClr val="808080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4105" name="Rectangle 9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6877050" y="6470650"/>
            <a:ext cx="194310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808080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E96E24-BEF2-4B00-B070-FBD13812C331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8203" name="Picture 18" descr="NewHZFSlogo Large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38" y="44450"/>
            <a:ext cx="1295400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4090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2pPr>
      <a:lvl3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3pPr>
      <a:lvl4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4pPr>
      <a:lvl5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5pPr>
      <a:lvl6pPr marL="4572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6pPr>
      <a:lvl7pPr marL="9144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7pPr>
      <a:lvl8pPr marL="13716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8pPr>
      <a:lvl9pPr marL="18288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9pPr>
    </p:titleStyle>
    <p:bodyStyle>
      <a:lvl1pPr marL="268288" indent="-268288" algn="l" defTabSz="762000" rtl="0" eaLnBrk="0" fontAlgn="base" hangingPunct="0">
        <a:spcBef>
          <a:spcPct val="20000"/>
        </a:spcBef>
        <a:spcAft>
          <a:spcPct val="0"/>
        </a:spcAft>
        <a:buClr>
          <a:srgbClr val="EA0000"/>
        </a:buClr>
        <a:buSzPct val="10000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9875" algn="l" defTabSz="762000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2pPr>
      <a:lvl3pPr marL="1076325" indent="-179388" algn="l" defTabSz="762000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−"/>
        <a:defRPr sz="1400">
          <a:solidFill>
            <a:schemeClr val="tx1"/>
          </a:solidFill>
          <a:latin typeface="+mn-lt"/>
        </a:defRPr>
      </a:lvl3pPr>
      <a:lvl4pPr marL="1433513" indent="-177800" algn="l" defTabSz="762000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07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5pPr>
      <a:lvl6pPr marL="22479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6pPr>
      <a:lvl7pPr marL="27051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7pPr>
      <a:lvl8pPr marL="31623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8pPr>
      <a:lvl9pPr marL="36195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9144000" cy="908720"/>
          </a:xfrm>
          <a:prstGeom prst="rect">
            <a:avLst/>
          </a:prstGeom>
          <a:solidFill>
            <a:srgbClr val="C00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82550"/>
          </a:sp3d>
        </p:spPr>
        <p:txBody>
          <a:bodyPr wrap="non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68313" y="1125538"/>
            <a:ext cx="8351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31" name="Rectangle 4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468313" y="0"/>
            <a:ext cx="7199312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" tIns="44450" rIns="18000" bIns="44450" numCol="1" anchor="b" anchorCtr="0" compatLnSpc="1">
            <a:prstTxWarp prst="textNoShape">
              <a:avLst/>
            </a:prstTxWarp>
          </a:bodyPr>
          <a:lstStyle/>
          <a:p>
            <a:pPr lvl="0"/>
            <a:endParaRPr lang="nl-NL" smtClean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34925" y="6470650"/>
            <a:ext cx="213360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 b="0">
                <a:solidFill>
                  <a:srgbClr val="80808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EABD2F2-A367-45D3-AFDE-E4BECFBCD305}" type="datetime5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-Oct-15</a:t>
            </a:fld>
            <a:endParaRPr lang="en-GB"/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2700338" y="6470650"/>
            <a:ext cx="381635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000" b="0">
                <a:solidFill>
                  <a:srgbClr val="808080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  ©  H.J. Heinz</a:t>
            </a:r>
          </a:p>
        </p:txBody>
      </p:sp>
      <p:sp>
        <p:nvSpPr>
          <p:cNvPr id="4105" name="Rectangle 9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6877050" y="6470650"/>
            <a:ext cx="194310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 b="0">
                <a:solidFill>
                  <a:srgbClr val="80808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4DC9CA-1F98-42EC-82E2-86A513261374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pic>
        <p:nvPicPr>
          <p:cNvPr id="1035" name="Picture 18" descr="NewHZFSlogo Large"/>
          <p:cNvPicPr>
            <a:picLocks noChangeAspect="1" noChangeArrowheads="1"/>
          </p:cNvPicPr>
          <p:nvPr userDrawn="1">
            <p:custDataLst>
              <p:tags r:id="rId21"/>
            </p:custDataLst>
          </p:nvPr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38" y="44450"/>
            <a:ext cx="1295400" cy="81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9626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/>
  <p:txStyles>
    <p:titleStyle>
      <a:lvl1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2pPr>
      <a:lvl3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3pPr>
      <a:lvl4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4pPr>
      <a:lvl5pPr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Calibri" pitchFamily="34" charset="0"/>
        </a:defRPr>
      </a:lvl5pPr>
      <a:lvl6pPr marL="4572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6pPr>
      <a:lvl7pPr marL="9144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7pPr>
      <a:lvl8pPr marL="13716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8pPr>
      <a:lvl9pPr marL="1828800" algn="l" defTabSz="7620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Calibri" pitchFamily="34" charset="0"/>
        </a:defRPr>
      </a:lvl9pPr>
    </p:titleStyle>
    <p:bodyStyle>
      <a:lvl1pPr marL="268288" indent="-268288" algn="l" defTabSz="762000" rtl="0" eaLnBrk="0" fontAlgn="base" hangingPunct="0">
        <a:spcBef>
          <a:spcPct val="20000"/>
        </a:spcBef>
        <a:spcAft>
          <a:spcPct val="0"/>
        </a:spcAft>
        <a:buClr>
          <a:srgbClr val="EA0000"/>
        </a:buClr>
        <a:buSzPct val="10000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9875" algn="l" defTabSz="762000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</a:defRPr>
      </a:lvl2pPr>
      <a:lvl3pPr marL="1076325" indent="-179388" algn="l" defTabSz="762000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−"/>
        <a:defRPr sz="1400">
          <a:solidFill>
            <a:schemeClr val="tx1"/>
          </a:solidFill>
          <a:latin typeface="+mn-lt"/>
        </a:defRPr>
      </a:lvl3pPr>
      <a:lvl4pPr marL="1433513" indent="-177800" algn="l" defTabSz="762000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7907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5pPr>
      <a:lvl6pPr marL="22479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6pPr>
      <a:lvl7pPr marL="27051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7pPr>
      <a:lvl8pPr marL="31623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8pPr>
      <a:lvl9pPr marL="3619500" indent="-177800" algn="l" defTabSz="762000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 descr="hnz_visionValues_lower_red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755332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0" tIns="0" rIns="45720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1123950"/>
            <a:ext cx="9144000" cy="542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7240" tIns="320040" rIns="457200" bIns="4572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6981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9" r:id="rId18"/>
    <p:sldLayoutId id="2147483720" r:id="rId19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rgbClr val="E60C00"/>
          </a:solidFill>
          <a:latin typeface="Arial" charset="0"/>
        </a:defRPr>
      </a:lvl6pPr>
      <a:lvl7pPr marL="9144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rgbClr val="E60C00"/>
          </a:solidFill>
          <a:latin typeface="Arial" charset="0"/>
        </a:defRPr>
      </a:lvl7pPr>
      <a:lvl8pPr marL="13716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rgbClr val="E60C00"/>
          </a:solidFill>
          <a:latin typeface="Arial" charset="0"/>
        </a:defRPr>
      </a:lvl8pPr>
      <a:lvl9pPr marL="1828800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rgbClr val="E60C00"/>
          </a:solidFill>
          <a:latin typeface="Arial" charset="0"/>
        </a:defRPr>
      </a:lvl9pPr>
    </p:titleStyle>
    <p:bodyStyle>
      <a:lvl1pPr marL="228600" indent="-22860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tabLst>
          <a:tab pos="2628900" algn="l"/>
        </a:tabLst>
        <a:defRPr sz="2200" b="1">
          <a:solidFill>
            <a:srgbClr val="6B6B6B"/>
          </a:solidFill>
          <a:latin typeface="+mn-lt"/>
          <a:ea typeface="+mn-ea"/>
          <a:cs typeface="+mn-cs"/>
        </a:defRPr>
      </a:lvl1pPr>
      <a:lvl2pPr marL="628650" indent="-180975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lr>
          <a:srgbClr val="E60C00"/>
        </a:buClr>
        <a:buChar char="•"/>
        <a:tabLst>
          <a:tab pos="2628900" algn="l"/>
        </a:tabLst>
        <a:defRPr sz="2000">
          <a:solidFill>
            <a:srgbClr val="6B6B6B"/>
          </a:solidFill>
          <a:latin typeface="+mn-lt"/>
        </a:defRPr>
      </a:lvl2pPr>
      <a:lvl3pPr marL="1085850" indent="-173038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lr>
          <a:srgbClr val="E60C00"/>
        </a:buClr>
        <a:buFont typeface="Arial" charset="0"/>
        <a:buChar char="»"/>
        <a:tabLst>
          <a:tab pos="2628900" algn="l"/>
        </a:tabLst>
        <a:defRPr>
          <a:solidFill>
            <a:srgbClr val="6B6B6B"/>
          </a:solidFill>
          <a:latin typeface="+mn-lt"/>
        </a:defRPr>
      </a:lvl3pPr>
      <a:lvl4pPr marL="15430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tabLst>
          <a:tab pos="2628900" algn="l"/>
        </a:tabLst>
        <a:defRPr sz="1600">
          <a:solidFill>
            <a:srgbClr val="6B6B6B"/>
          </a:solidFill>
          <a:latin typeface="+mn-lt"/>
        </a:defRPr>
      </a:lvl4pPr>
      <a:lvl5pPr marL="20002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2" charset="2"/>
        <a:buChar char="ü"/>
        <a:tabLst>
          <a:tab pos="2628900" algn="l"/>
        </a:tabLst>
        <a:defRPr sz="1400">
          <a:solidFill>
            <a:srgbClr val="6B6B6B"/>
          </a:solidFill>
          <a:latin typeface="+mn-lt"/>
        </a:defRPr>
      </a:lvl5pPr>
      <a:lvl6pPr marL="2457450" indent="-171450" algn="l" rtl="0" eaLnBrk="1" fontAlgn="base" hangingPunct="1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-96" charset="2"/>
        <a:buChar char="ü"/>
        <a:tabLst>
          <a:tab pos="2628900" algn="l"/>
        </a:tabLst>
        <a:defRPr sz="1400">
          <a:solidFill>
            <a:srgbClr val="6B6B6B"/>
          </a:solidFill>
          <a:latin typeface="+mn-lt"/>
        </a:defRPr>
      </a:lvl6pPr>
      <a:lvl7pPr marL="2914650" indent="-171450" algn="l" rtl="0" eaLnBrk="1" fontAlgn="base" hangingPunct="1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-96" charset="2"/>
        <a:buChar char="ü"/>
        <a:tabLst>
          <a:tab pos="2628900" algn="l"/>
        </a:tabLst>
        <a:defRPr sz="1400">
          <a:solidFill>
            <a:srgbClr val="6B6B6B"/>
          </a:solidFill>
          <a:latin typeface="+mn-lt"/>
        </a:defRPr>
      </a:lvl7pPr>
      <a:lvl8pPr marL="3371850" indent="-171450" algn="l" rtl="0" eaLnBrk="1" fontAlgn="base" hangingPunct="1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-96" charset="2"/>
        <a:buChar char="ü"/>
        <a:tabLst>
          <a:tab pos="2628900" algn="l"/>
        </a:tabLst>
        <a:defRPr sz="1400">
          <a:solidFill>
            <a:srgbClr val="6B6B6B"/>
          </a:solidFill>
          <a:latin typeface="+mn-lt"/>
        </a:defRPr>
      </a:lvl8pPr>
      <a:lvl9pPr marL="3829050" indent="-171450" algn="l" rtl="0" eaLnBrk="1" fontAlgn="base" hangingPunct="1">
        <a:lnSpc>
          <a:spcPct val="85000"/>
        </a:lnSpc>
        <a:spcBef>
          <a:spcPct val="45000"/>
        </a:spcBef>
        <a:spcAft>
          <a:spcPct val="0"/>
        </a:spcAft>
        <a:buClr>
          <a:srgbClr val="FF0000"/>
        </a:buClr>
        <a:buFont typeface="Wingdings" pitchFamily="-96" charset="2"/>
        <a:buChar char="ü"/>
        <a:tabLst>
          <a:tab pos="2628900" algn="l"/>
        </a:tabLst>
        <a:defRPr sz="1400">
          <a:solidFill>
            <a:srgbClr val="6B6B6B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png"/><Relationship Id="rId7" Type="http://schemas.openxmlformats.org/officeDocument/2006/relationships/image" Target="../media/image5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59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7.jpeg"/><Relationship Id="rId5" Type="http://schemas.openxmlformats.org/officeDocument/2006/relationships/image" Target="../media/image58.png"/><Relationship Id="rId4" Type="http://schemas.openxmlformats.org/officeDocument/2006/relationships/image" Target="../media/image57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3.png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8.png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3.png"/><Relationship Id="rId11" Type="http://schemas.openxmlformats.org/officeDocument/2006/relationships/image" Target="../media/image88.pn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93.jpe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jpeg"/><Relationship Id="rId3" Type="http://schemas.openxmlformats.org/officeDocument/2006/relationships/image" Target="../media/image95.jpeg"/><Relationship Id="rId7" Type="http://schemas.openxmlformats.org/officeDocument/2006/relationships/image" Target="../media/image98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6.xml"/><Relationship Id="rId6" Type="http://schemas.openxmlformats.org/officeDocument/2006/relationships/hyperlink" Target="http://www.unipack.ru/user_files/file27462.jpg" TargetMode="External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03.jpeg"/><Relationship Id="rId4" Type="http://schemas.openxmlformats.org/officeDocument/2006/relationships/image" Target="../media/image102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jpg"/><Relationship Id="rId13" Type="http://schemas.openxmlformats.org/officeDocument/2006/relationships/image" Target="../media/image116.jpeg"/><Relationship Id="rId18" Type="http://schemas.openxmlformats.org/officeDocument/2006/relationships/image" Target="../media/image121.jpeg"/><Relationship Id="rId26" Type="http://schemas.openxmlformats.org/officeDocument/2006/relationships/image" Target="../media/image129.jpeg"/><Relationship Id="rId3" Type="http://schemas.openxmlformats.org/officeDocument/2006/relationships/image" Target="../media/image106.jpeg"/><Relationship Id="rId21" Type="http://schemas.openxmlformats.org/officeDocument/2006/relationships/image" Target="../media/image124.jpeg"/><Relationship Id="rId7" Type="http://schemas.openxmlformats.org/officeDocument/2006/relationships/image" Target="../media/image110.jpeg"/><Relationship Id="rId12" Type="http://schemas.openxmlformats.org/officeDocument/2006/relationships/image" Target="../media/image115.jpeg"/><Relationship Id="rId17" Type="http://schemas.openxmlformats.org/officeDocument/2006/relationships/image" Target="../media/image120.jpeg"/><Relationship Id="rId25" Type="http://schemas.openxmlformats.org/officeDocument/2006/relationships/image" Target="../media/image128.jpeg"/><Relationship Id="rId2" Type="http://schemas.openxmlformats.org/officeDocument/2006/relationships/image" Target="../media/image105.jpeg"/><Relationship Id="rId16" Type="http://schemas.openxmlformats.org/officeDocument/2006/relationships/image" Target="../media/image119.png"/><Relationship Id="rId20" Type="http://schemas.openxmlformats.org/officeDocument/2006/relationships/image" Target="../media/image123.jpe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9.jpg"/><Relationship Id="rId11" Type="http://schemas.openxmlformats.org/officeDocument/2006/relationships/image" Target="../media/image114.jpeg"/><Relationship Id="rId24" Type="http://schemas.openxmlformats.org/officeDocument/2006/relationships/image" Target="../media/image127.jpeg"/><Relationship Id="rId5" Type="http://schemas.openxmlformats.org/officeDocument/2006/relationships/image" Target="../media/image108.jpeg"/><Relationship Id="rId15" Type="http://schemas.openxmlformats.org/officeDocument/2006/relationships/image" Target="../media/image118.jpeg"/><Relationship Id="rId23" Type="http://schemas.openxmlformats.org/officeDocument/2006/relationships/image" Target="../media/image126.png"/><Relationship Id="rId10" Type="http://schemas.openxmlformats.org/officeDocument/2006/relationships/image" Target="../media/image113.jpg"/><Relationship Id="rId19" Type="http://schemas.openxmlformats.org/officeDocument/2006/relationships/image" Target="../media/image122.jpeg"/><Relationship Id="rId4" Type="http://schemas.openxmlformats.org/officeDocument/2006/relationships/image" Target="../media/image107.jpeg"/><Relationship Id="rId9" Type="http://schemas.openxmlformats.org/officeDocument/2006/relationships/image" Target="../media/image112.jpeg"/><Relationship Id="rId14" Type="http://schemas.openxmlformats.org/officeDocument/2006/relationships/image" Target="../media/image117.jpg"/><Relationship Id="rId22" Type="http://schemas.openxmlformats.org/officeDocument/2006/relationships/image" Target="../media/image125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jpeg"/><Relationship Id="rId13" Type="http://schemas.openxmlformats.org/officeDocument/2006/relationships/image" Target="../media/image141.jpeg"/><Relationship Id="rId3" Type="http://schemas.openxmlformats.org/officeDocument/2006/relationships/image" Target="../media/image131.jpeg"/><Relationship Id="rId7" Type="http://schemas.openxmlformats.org/officeDocument/2006/relationships/image" Target="../media/image135.jpeg"/><Relationship Id="rId12" Type="http://schemas.openxmlformats.org/officeDocument/2006/relationships/image" Target="../media/image140.jpe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34.jpeg"/><Relationship Id="rId11" Type="http://schemas.openxmlformats.org/officeDocument/2006/relationships/image" Target="../media/image139.jpeg"/><Relationship Id="rId5" Type="http://schemas.openxmlformats.org/officeDocument/2006/relationships/image" Target="../media/image133.jpeg"/><Relationship Id="rId15" Type="http://schemas.openxmlformats.org/officeDocument/2006/relationships/image" Target="../media/image143.jpeg"/><Relationship Id="rId10" Type="http://schemas.openxmlformats.org/officeDocument/2006/relationships/image" Target="../media/image138.jpeg"/><Relationship Id="rId4" Type="http://schemas.openxmlformats.org/officeDocument/2006/relationships/image" Target="../media/image132.jpeg"/><Relationship Id="rId9" Type="http://schemas.openxmlformats.org/officeDocument/2006/relationships/image" Target="../media/image137.jpeg"/><Relationship Id="rId14" Type="http://schemas.openxmlformats.org/officeDocument/2006/relationships/image" Target="../media/image14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36.jpeg"/><Relationship Id="rId9" Type="http://schemas.openxmlformats.org/officeDocument/2006/relationships/image" Target="../media/image4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Хайнц Фудсервис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077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668344" cy="874713"/>
          </a:xfrm>
        </p:spPr>
        <p:txBody>
          <a:bodyPr/>
          <a:lstStyle/>
          <a:p>
            <a:pPr defTabSz="762000"/>
            <a:r>
              <a:rPr lang="ru-RU" sz="2600" b="1" kern="1200" dirty="0"/>
              <a:t>Соевый соус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</a:p>
        </p:txBody>
      </p:sp>
      <p:pic>
        <p:nvPicPr>
          <p:cNvPr id="6146" name="Picture 2" descr="C:\Documents and Settings\ksemenova\My Documents\Marketing\pics\Products\43_D_06_12_Slide_Heinz_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0112" y="1289470"/>
            <a:ext cx="3413731" cy="2444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368970" y="1121303"/>
            <a:ext cx="751539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66700" indent="-2667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ru-RU" sz="2000" b="1" dirty="0" smtClean="0"/>
          </a:p>
          <a:p>
            <a:r>
              <a:rPr lang="ru-RU" sz="2000" b="1" dirty="0" smtClean="0"/>
              <a:t>Соевый </a:t>
            </a:r>
            <a:r>
              <a:rPr lang="ru-RU" sz="2000" b="1" dirty="0"/>
              <a:t>соус </a:t>
            </a:r>
            <a:r>
              <a:rPr lang="ru-RU" sz="2000" b="1" dirty="0" smtClean="0"/>
              <a:t>натурального брожения</a:t>
            </a:r>
            <a:endParaRPr lang="ru-RU" sz="2000" b="1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0922" y="5152229"/>
            <a:ext cx="1938654" cy="1265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94270" y="1879974"/>
            <a:ext cx="5270261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Этот яркий вкус помимо суши и роллов применяется в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терияки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ланч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кинг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имбирном и других японских соусах, а также в азиатском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вок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-соусе, европейских соусах Цезарь, </a:t>
            </a: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беарнез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 и грибном.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Соевый соус Хайнц отлично </a:t>
            </a: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карамелизуется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Его можно разводить два к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одному водой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без потери вкуса.</a:t>
            </a:r>
          </a:p>
          <a:p>
            <a:endParaRPr lang="ru-RU" sz="20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962" y="2132856"/>
            <a:ext cx="383858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 descr="\\seumskfp001\Users\Foodservice\POSM Foodservice\soy sauce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315" y="3457766"/>
            <a:ext cx="1584176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9177655"/>
              </p:ext>
            </p:extLst>
          </p:nvPr>
        </p:nvGraphicFramePr>
        <p:xfrm>
          <a:off x="539552" y="4248232"/>
          <a:ext cx="5719361" cy="171323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650129"/>
                <a:gridCol w="1022279"/>
                <a:gridCol w="2046953"/>
              </a:tblGrid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г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26289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24 мес.</a:t>
                      </a:r>
                    </a:p>
                  </a:txBody>
                  <a:tcPr marL="68580" marR="68580" marT="0" marB="0"/>
                </a:tc>
              </a:tr>
              <a:tr h="26606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миум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24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1780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667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24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6860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5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24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6352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ев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5491" y="2427309"/>
            <a:ext cx="542854" cy="770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8694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617101" cy="874713"/>
          </a:xfrm>
        </p:spPr>
        <p:txBody>
          <a:bodyPr/>
          <a:lstStyle/>
          <a:p>
            <a:pPr defTabSz="762000"/>
            <a:r>
              <a:rPr lang="ru-RU" sz="2600" b="1" kern="1200" dirty="0"/>
              <a:t>Консервация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09575" y="1158227"/>
            <a:ext cx="576372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  <a:defRPr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В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оизводстве используются только свежие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овощи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ямо с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олей, без красителей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консервантов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и ароматизаторов.</a:t>
            </a:r>
          </a:p>
          <a:p>
            <a:pPr marL="342900" indent="-342900">
              <a:buFont typeface="Arial" charset="0"/>
              <a:buChar char="•"/>
              <a:defRPr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В банки попадают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только отборные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овощи сразу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осле сбора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урожая.</a:t>
            </a:r>
          </a:p>
          <a:p>
            <a:pPr marL="342900" indent="-342900">
              <a:buFont typeface="Arial" charset="0"/>
              <a:buChar char="•"/>
              <a:defRPr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Это гарниры высшего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качества и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основа классических салатов.</a:t>
            </a:r>
          </a:p>
          <a:p>
            <a:pPr marL="342900" indent="-342900">
              <a:buFont typeface="Arial" charset="0"/>
              <a:buChar char="•"/>
              <a:defRPr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Уникальный вкус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фасоли в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томатном соус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Хайнц узнаваем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во всем мире.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06391" y="1268316"/>
            <a:ext cx="2821912" cy="196192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6629668">
            <a:off x="7686339" y="5115054"/>
            <a:ext cx="1490439" cy="964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5780960"/>
            <a:ext cx="903345" cy="682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81990"/>
              </p:ext>
            </p:extLst>
          </p:nvPr>
        </p:nvGraphicFramePr>
        <p:xfrm>
          <a:off x="539552" y="3501008"/>
          <a:ext cx="6565147" cy="132242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701267"/>
                <a:gridCol w="971141"/>
                <a:gridCol w="2892739"/>
              </a:tblGrid>
              <a:tr h="22576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г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17318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асоль В томатном соус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0 до +25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16 мес.</a:t>
                      </a:r>
                    </a:p>
                  </a:txBody>
                  <a:tcPr marL="68580" marR="68580" marT="0" marB="0"/>
                </a:tc>
              </a:tr>
              <a:tr h="15120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асоль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расная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консервированная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 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24 мес.</a:t>
                      </a:r>
                    </a:p>
                  </a:txBody>
                  <a:tcPr marL="68580" marR="68580" marT="0" marB="0"/>
                </a:tc>
              </a:tr>
              <a:tr h="18832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асоль В томатном соус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12 мес.</a:t>
                      </a:r>
                    </a:p>
                  </a:txBody>
                  <a:tcPr marL="68580" marR="68580" marT="0" marB="0"/>
                </a:tc>
              </a:tr>
              <a:tr h="22176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асоль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страя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«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ладки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чили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»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  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4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15 мес.</a:t>
                      </a:r>
                    </a:p>
                  </a:txBody>
                  <a:tcPr marL="68580" marR="68580" marT="0" marB="0"/>
                </a:tc>
              </a:tr>
              <a:tr h="17812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укуруза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ладкая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консервированная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36 мес.</a:t>
                      </a:r>
                    </a:p>
                  </a:txBody>
                  <a:tcPr marL="68580" marR="68580" marT="0" marB="0"/>
                </a:tc>
              </a:tr>
              <a:tr h="11705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орошек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еленый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нсерв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рован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9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 о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+25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36 мес.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616" y="4999365"/>
            <a:ext cx="1162079" cy="1532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1970" y="5040846"/>
            <a:ext cx="1120582" cy="1477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5032687"/>
            <a:ext cx="1135154" cy="1496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4977439"/>
            <a:ext cx="1163004" cy="153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838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647908" cy="919337"/>
          </a:xfrm>
        </p:spPr>
        <p:txBody>
          <a:bodyPr/>
          <a:lstStyle/>
          <a:p>
            <a:pPr defTabSz="762000"/>
            <a:r>
              <a:rPr lang="ru-RU" sz="2600" b="1" kern="1200" dirty="0"/>
              <a:t>Майонез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</a:p>
        </p:txBody>
      </p:sp>
      <p:pic>
        <p:nvPicPr>
          <p:cNvPr id="8194" name="Picture 2" descr="C:\Documents and Settings\ksemenova\My Documents\Marketing\pics\Products\Mayo_10kg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9958" y="1205156"/>
            <a:ext cx="1930686" cy="1946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00318" y="1628800"/>
            <a:ext cx="560881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Классическая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рецептура и оригинальный вкус знаменитого майонеза провансаль</a:t>
            </a:r>
            <a:r>
              <a:rPr lang="ru-RU" sz="1600" dirty="0" smtClean="0">
                <a:latin typeface="+mj-lt"/>
              </a:rPr>
              <a:t>, 67%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Майонез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Хайнц хорошо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держит заправленные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салаты,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лужит основой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для производных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оусов как европейской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так и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восточной кухни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Лёгкий майонез 28% идеален для запекания, даёт румяную корочку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400" dirty="0" smtClean="0">
              <a:solidFill>
                <a:schemeClr val="tx1"/>
              </a:solidFill>
              <a:latin typeface="+mj-lt"/>
            </a:endParaRPr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63888" y="5302487"/>
            <a:ext cx="2448272" cy="1336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 descr="C:\Documents and Settings\ksemenova\My Documents\Marketing\pics\Products\Mayo 5kg.gi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6486" y="1892599"/>
            <a:ext cx="1249878" cy="125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5383119"/>
            <a:ext cx="1507937" cy="1172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9924" y="3565296"/>
            <a:ext cx="2405271" cy="1393338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8254778"/>
              </p:ext>
            </p:extLst>
          </p:nvPr>
        </p:nvGraphicFramePr>
        <p:xfrm>
          <a:off x="335280" y="3863435"/>
          <a:ext cx="5616624" cy="115922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402330"/>
                <a:gridCol w="1039183"/>
                <a:gridCol w="2175111"/>
              </a:tblGrid>
              <a:tr h="25639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г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23226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майонезный Легкий 28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до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</a:p>
                  </a:txBody>
                  <a:tcPr marL="68580" marR="68580" marT="0" marB="0"/>
                </a:tc>
              </a:tr>
              <a:tr h="32616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Майонез Провансаль 67% жирности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до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-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6700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йонез Провансаль 67% жирности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8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до +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-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1" name="Picture 3" descr="\\seumskfp001\Groups\Foodservice\Heinz FS Moscow\NPD\Egypt\Labels\Soya_soshet_mayonez_Egipe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3119" y="5022659"/>
            <a:ext cx="662593" cy="1532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705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5335" y="116632"/>
            <a:ext cx="7595037" cy="775321"/>
          </a:xfrm>
        </p:spPr>
        <p:txBody>
          <a:bodyPr/>
          <a:lstStyle/>
          <a:p>
            <a:pPr defTabSz="762000"/>
            <a:r>
              <a:rPr lang="ru-RU" sz="2600" b="1" kern="1200" dirty="0"/>
              <a:t>Соусы </a:t>
            </a:r>
          </a:p>
        </p:txBody>
      </p:sp>
      <p:pic>
        <p:nvPicPr>
          <p:cNvPr id="4" name="Picture 3" descr="C:\Documents and Settings\ksemenova\My Documents\Marketing\pics\Products\BBQ 2,15l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3520" y="2744331"/>
            <a:ext cx="665901" cy="1238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6417" y="4149080"/>
            <a:ext cx="318341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95724" y="1055450"/>
            <a:ext cx="7344627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ts val="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Горчица Пикадор</a:t>
            </a:r>
            <a:endParaRPr lang="en-US" sz="1400" b="1" dirty="0" smtClean="0">
              <a:solidFill>
                <a:schemeClr val="tx1"/>
              </a:solidFill>
              <a:latin typeface="+mj-lt"/>
            </a:endParaRP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О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бладает нежной консистенцией,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н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езаменима для хот-догов и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бургеров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</a:t>
            </a:r>
            <a:endParaRPr lang="ru-RU" sz="1600" dirty="0">
              <a:latin typeface="+mj-lt"/>
            </a:endParaRPr>
          </a:p>
          <a:p>
            <a:pPr marL="285750" indent="-28575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п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ревосходная основа для майонеза провансаль</a:t>
            </a:r>
          </a:p>
          <a:p>
            <a:pPr eaLnBrk="1" hangingPunct="1">
              <a:spcBef>
                <a:spcPts val="0"/>
              </a:spcBef>
            </a:pPr>
            <a:endParaRPr lang="ru-RU" sz="1400" b="0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Соус </a:t>
            </a:r>
            <a:r>
              <a:rPr lang="ru-RU" sz="1400" b="1" dirty="0" err="1" smtClean="0">
                <a:solidFill>
                  <a:schemeClr val="tx1"/>
                </a:solidFill>
                <a:latin typeface="+mj-lt"/>
              </a:rPr>
              <a:t>Барбекью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  <a:p>
            <a:pPr marL="342900" indent="-34290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И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зготовлен по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уникальной рецептур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Хайнц,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  <a:p>
            <a:pPr marL="342900" indent="-34290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Барбекью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 — это н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осто соус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но и цело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направление в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риготовлении блюд.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виные рёбрышки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курины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крылышки приобретают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новый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оттенок благодаря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соусу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Барбекью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.</a:t>
            </a:r>
          </a:p>
          <a:p>
            <a:r>
              <a:rPr lang="en-US" sz="1600" dirty="0">
                <a:latin typeface="+mj-lt"/>
              </a:rPr>
              <a:t> </a:t>
            </a:r>
            <a:endParaRPr lang="en-US" sz="1600" b="0" dirty="0">
              <a:solidFill>
                <a:schemeClr val="tx1"/>
              </a:solidFill>
              <a:latin typeface="+mj-lt"/>
            </a:endParaRPr>
          </a:p>
          <a:p>
            <a:pPr eaLnBrk="1" hangingPunct="1">
              <a:spcBef>
                <a:spcPts val="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Соус </a:t>
            </a:r>
            <a:r>
              <a:rPr lang="ru-RU" sz="1400" b="1" dirty="0" err="1" smtClean="0">
                <a:solidFill>
                  <a:schemeClr val="tx1"/>
                </a:solidFill>
                <a:latin typeface="+mj-lt"/>
              </a:rPr>
              <a:t>Уорчестер</a:t>
            </a:r>
            <a:endParaRPr lang="ru-RU" sz="1400" b="1" dirty="0" smtClean="0">
              <a:solidFill>
                <a:schemeClr val="tx1"/>
              </a:solidFill>
              <a:latin typeface="+mj-lt"/>
            </a:endParaRPr>
          </a:p>
          <a:p>
            <a:pPr marL="342900" indent="-34290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Классический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вкус,</a:t>
            </a:r>
          </a:p>
          <a:p>
            <a:pPr marL="342900" indent="-342900" eaLnBrk="1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б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азовый ингредиент многих соусов</a:t>
            </a:r>
            <a:endParaRPr lang="en-US" sz="1600" b="0" dirty="0">
              <a:solidFill>
                <a:schemeClr val="tx1"/>
              </a:solidFill>
              <a:latin typeface="+mj-lt"/>
            </a:endParaRPr>
          </a:p>
          <a:p>
            <a:pPr eaLnBrk="1" hangingPunct="1">
              <a:spcBef>
                <a:spcPts val="0"/>
              </a:spcBef>
            </a:pPr>
            <a:endParaRPr lang="ru-RU" sz="1400" dirty="0" smtClean="0">
              <a:solidFill>
                <a:schemeClr val="tx1"/>
              </a:solidFill>
              <a:latin typeface="+mj-lt"/>
            </a:endParaRPr>
          </a:p>
          <a:p>
            <a:pPr eaLnBrk="1" hangingPunct="1">
              <a:spcBef>
                <a:spcPts val="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Соусы для спагетти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Паста соусы Хайнц- удобное решение для приготовления классических и натуральных блюд итальянской кухни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973931"/>
              </p:ext>
            </p:extLst>
          </p:nvPr>
        </p:nvGraphicFramePr>
        <p:xfrm>
          <a:off x="395724" y="5547225"/>
          <a:ext cx="6388698" cy="88836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960273"/>
                <a:gridCol w="995601"/>
                <a:gridCol w="2432824"/>
              </a:tblGrid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г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12963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рбек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ь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ю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оригинальны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C до +25°C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15 мес.</a:t>
                      </a:r>
                    </a:p>
                  </a:txBody>
                  <a:tcPr marL="68580" marR="68580" marT="0" marB="0"/>
                </a:tc>
              </a:tr>
              <a:tr h="82768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«Lea &amp;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rrins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»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очестер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1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1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3346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орчица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икадор 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-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 </a:t>
                      </a:r>
                      <a:r>
                        <a:rPr lang="en-GB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ес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21780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для спагетти( в ассортименте)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+4°С до +25°С-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/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447606" y="3244334"/>
            <a:ext cx="70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447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9218" name="Picture 2" descr="C:\Users\OMinchen\AppData\Local\Microsoft\Windows\Temporary Internet Files\Content.Outlook\230QM5E6\Spagetti_Trad_450_2014_new_desig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149" y="5589240"/>
            <a:ext cx="547666" cy="99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OMinchen\AppData\Local\Microsoft\Windows\Temporary Internet Files\Content.Outlook\230QM5E6\Picador_1kg (3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1202656"/>
            <a:ext cx="1521340" cy="1455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366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8100392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0" tIns="0" rIns="0" anchor="b"/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0" i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E60C00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E60C00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E60C00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E60C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600" b="1" dirty="0"/>
              <a:t>Порционные премиум соусы </a:t>
            </a:r>
            <a:r>
              <a:rPr lang="ru-RU" sz="2600" b="1" dirty="0">
                <a:latin typeface="Calibri" panose="020F0502020204030204" pitchFamily="34" charset="0"/>
                <a:cs typeface="Calibri" panose="020F0502020204030204" pitchFamily="34" charset="0"/>
              </a:rPr>
              <a:t>ХАЙНЦ </a:t>
            </a:r>
            <a:r>
              <a:rPr lang="ru-RU" sz="2600" b="1" dirty="0"/>
              <a:t>в </a:t>
            </a:r>
            <a:endParaRPr lang="ru-RU" sz="2600" b="1" dirty="0" smtClean="0"/>
          </a:p>
          <a:p>
            <a:pPr>
              <a:defRPr/>
            </a:pPr>
            <a:r>
              <a:rPr lang="ru-RU" sz="2600" b="1" dirty="0" smtClean="0"/>
              <a:t>стекле</a:t>
            </a:r>
            <a:endParaRPr lang="ru-RU" sz="26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85763" y="1143000"/>
            <a:ext cx="8758237" cy="206210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Специальная линейка соусов премиум-класса для отельного и бортового обслуживания</a:t>
            </a:r>
          </a:p>
          <a:p>
            <a:pPr>
              <a:defRPr/>
            </a:pP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Большие порции 33 мл в стекле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Эстетичные баночки удобны в применении и хранении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Максимальная гигиеническая защита обеспечивает </a:t>
            </a:r>
            <a:br>
              <a:rPr lang="ru-RU" sz="1600" dirty="0">
                <a:latin typeface="+mj-lt"/>
                <a:cs typeface="Calibri" panose="020F0502020204030204" pitchFamily="34" charset="0"/>
              </a:rPr>
            </a:br>
            <a:r>
              <a:rPr lang="ru-RU" sz="1600" dirty="0">
                <a:latin typeface="+mj-lt"/>
                <a:cs typeface="Calibri" panose="020F0502020204030204" pitchFamily="34" charset="0"/>
              </a:rPr>
              <a:t>длительное хранение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Русифицированные этикетки</a:t>
            </a:r>
            <a:endParaRPr lang="en-US" sz="1600" dirty="0">
              <a:latin typeface="+mj-lt"/>
              <a:cs typeface="Calibri" panose="020F0502020204030204" pitchFamily="34" charset="0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роизведены в Англии</a:t>
            </a:r>
          </a:p>
        </p:txBody>
      </p:sp>
      <p:pic>
        <p:nvPicPr>
          <p:cNvPr id="174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900238"/>
            <a:ext cx="2168525" cy="206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3" name="Picture 4" descr="C:\Users\user\Desktop\Горчиц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27" t="9850" r="12440" b="7558"/>
          <a:stretch>
            <a:fillRect/>
          </a:stretch>
        </p:blipFill>
        <p:spPr bwMode="auto">
          <a:xfrm>
            <a:off x="2797175" y="5029200"/>
            <a:ext cx="1516063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5" descr="C:\Users\user\Desktop\Sauce HP Roomservice BDEF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3" t="4585" r="9959" b="5621"/>
          <a:stretch>
            <a:fillRect/>
          </a:stretch>
        </p:blipFill>
        <p:spPr bwMode="auto">
          <a:xfrm>
            <a:off x="4730750" y="5029200"/>
            <a:ext cx="1597025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Picture 6" descr="C:\Users\user\Desktop\кетчуп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" r="6393"/>
          <a:stretch>
            <a:fillRect/>
          </a:stretch>
        </p:blipFill>
        <p:spPr bwMode="auto">
          <a:xfrm>
            <a:off x="755650" y="5029200"/>
            <a:ext cx="1511300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6" name="Picture 7" descr="C:\Users\user\Desktop\майонез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1" t="5692" r="4260" b="2888"/>
          <a:stretch>
            <a:fillRect/>
          </a:stretch>
        </p:blipFill>
        <p:spPr bwMode="auto">
          <a:xfrm>
            <a:off x="6913563" y="5029200"/>
            <a:ext cx="1512887" cy="157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463080"/>
              </p:ext>
            </p:extLst>
          </p:nvPr>
        </p:nvGraphicFramePr>
        <p:xfrm>
          <a:off x="457200" y="3287713"/>
          <a:ext cx="5791200" cy="1516065"/>
        </p:xfrm>
        <a:graphic>
          <a:graphicData uri="http://schemas.openxmlformats.org/drawingml/2006/table">
            <a:tbl>
              <a:tblPr/>
              <a:tblGrid>
                <a:gridCol w="2522538"/>
                <a:gridCol w="1049337"/>
                <a:gridCol w="2219325"/>
              </a:tblGrid>
              <a:tr h="303213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Наименование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Вес нетто, г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charset="0"/>
                        </a:rPr>
                        <a:t>Условия хранения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</a:tr>
              <a:tr h="303213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Майонез 67% 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30,4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- 9 мес.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3213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Кетчуп Томатный 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39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- 9 мес.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3213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Соус </a:t>
                      </a:r>
                      <a:r>
                        <a:rPr kumimoji="0" lang="en-US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HP </a:t>
                      </a: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традиционный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37,7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 -18 мес.                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3213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Горчица классическая дижонская 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33,8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- 9 мес. </a:t>
                      </a:r>
                    </a:p>
                  </a:txBody>
                  <a:tcPr marL="9525" marR="9525" marT="9529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22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351713" cy="874713"/>
          </a:xfrm>
        </p:spPr>
        <p:txBody>
          <a:bodyPr/>
          <a:lstStyle/>
          <a:p>
            <a:pPr>
              <a:defRPr/>
            </a:pPr>
            <a:r>
              <a:rPr lang="ru-RU" altLang="en-US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  <a:r>
              <a:rPr lang="ru-RU" altLang="en-US" sz="2600" b="1" kern="1200" dirty="0"/>
              <a:t> во главе стол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4338" y="1303338"/>
            <a:ext cx="6240462" cy="26007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Соусы для столов</a:t>
            </a:r>
          </a:p>
          <a:p>
            <a:pPr>
              <a:defRPr/>
            </a:pPr>
            <a:endParaRPr lang="en-US" sz="1600" b="1" dirty="0">
              <a:latin typeface="+mj-lt"/>
              <a:cs typeface="Calibri" panose="020F0502020204030204" pitchFamily="34" charset="0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опулярные вкусы </a:t>
            </a:r>
            <a:r>
              <a:rPr lang="en-US" sz="1600" dirty="0">
                <a:latin typeface="+mj-lt"/>
                <a:cs typeface="Calibri" panose="020F0502020204030204" pitchFamily="34" charset="0"/>
              </a:rPr>
              <a:t>– </a:t>
            </a:r>
            <a:r>
              <a:rPr lang="ru-RU" sz="1600" dirty="0">
                <a:latin typeface="+mj-lt"/>
                <a:cs typeface="Calibri" panose="020F0502020204030204" pitchFamily="34" charset="0"/>
              </a:rPr>
              <a:t>кетчуп и горчица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ластиковая бутылка не бьётся и позволяет с лёгкостью выдавить соус</a:t>
            </a:r>
            <a:endParaRPr lang="en-US" sz="1600" dirty="0">
              <a:latin typeface="+mj-lt"/>
              <a:cs typeface="Calibri" panose="020F0502020204030204" pitchFamily="34" charset="0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Соусы на столе стимулируют заказ мяса, закусок и картофеля фри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Возможность увеличить число посетителей и размер чека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 marL="342900" indent="-342900">
              <a:buFont typeface="Arial" pitchFamily="34" charset="0"/>
              <a:buChar char="•"/>
              <a:defRPr/>
            </a:pPr>
            <a:endParaRPr lang="en-US" dirty="0">
              <a:latin typeface="+mj-lt"/>
            </a:endParaRPr>
          </a:p>
        </p:txBody>
      </p:sp>
      <p:pic>
        <p:nvPicPr>
          <p:cNvPr id="18436" name="Picture 4" descr="b5b6f3f6-853b-4cac-93da-f5b371178e97@hjhein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8688" y="4876800"/>
            <a:ext cx="1001712" cy="174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18200" y="4365625"/>
            <a:ext cx="1473200" cy="208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/>
          <a:srcRect l="26320" t="8682" r="24149" b="3657"/>
          <a:stretch/>
        </p:blipFill>
        <p:spPr bwMode="auto">
          <a:xfrm>
            <a:off x="7529513" y="4362450"/>
            <a:ext cx="1462087" cy="20716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543088"/>
              </p:ext>
            </p:extLst>
          </p:nvPr>
        </p:nvGraphicFramePr>
        <p:xfrm>
          <a:off x="525463" y="3810000"/>
          <a:ext cx="5037137" cy="787400"/>
        </p:xfrm>
        <a:graphic>
          <a:graphicData uri="http://schemas.openxmlformats.org/drawingml/2006/table">
            <a:tbl>
              <a:tblPr/>
              <a:tblGrid>
                <a:gridCol w="2193925"/>
                <a:gridCol w="912812"/>
                <a:gridCol w="1930400"/>
              </a:tblGrid>
              <a:tr h="222250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Наименование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Вес нетто, г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Условия хранения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99"/>
                    </a:solidFill>
                  </a:tcPr>
                </a:tc>
              </a:tr>
              <a:tr h="282575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Кетчуп томатный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442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- 12 мес.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2575"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Горчица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380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2000" b="1">
                          <a:solidFill>
                            <a:srgbClr val="6B6B6B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defRPr>
                          <a:solidFill>
                            <a:srgbClr val="6B6B6B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E60C00"/>
                        </a:buClr>
                        <a:buFont typeface="Arial" charset="0"/>
                        <a:defRPr sz="1600">
                          <a:solidFill>
                            <a:srgbClr val="6B6B6B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400">
                          <a:solidFill>
                            <a:srgbClr val="6B6B6B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85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Font typeface="Wingdings" pitchFamily="2" charset="2"/>
                        <a:defRPr sz="1200">
                          <a:solidFill>
                            <a:srgbClr val="6B6B6B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charset="0"/>
                        </a:rPr>
                        <a:t>от +4°С до +25°С- 12 мес.</a:t>
                      </a:r>
                    </a:p>
                  </a:txBody>
                  <a:tcPr marL="9525" marR="9525" marT="9533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8457" name="Группа 10"/>
          <p:cNvGrpSpPr>
            <a:grpSpLocks/>
          </p:cNvGrpSpPr>
          <p:nvPr/>
        </p:nvGrpSpPr>
        <p:grpSpPr bwMode="auto">
          <a:xfrm>
            <a:off x="7054850" y="1371600"/>
            <a:ext cx="1631950" cy="1981200"/>
            <a:chOff x="6708001" y="1600200"/>
            <a:chExt cx="1631568" cy="1981200"/>
          </a:xfrm>
        </p:grpSpPr>
        <p:pic>
          <p:nvPicPr>
            <p:cNvPr id="18458" name="Picture 2" descr="\\seumskfp001\Groups\Foodservice\FS PRODUCT PHOTOS\TK\TK top-down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001" y="1600200"/>
              <a:ext cx="886527" cy="198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459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2051050"/>
              <a:ext cx="719569" cy="1530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780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275513" cy="990600"/>
          </a:xfrm>
        </p:spPr>
        <p:txBody>
          <a:bodyPr/>
          <a:lstStyle/>
          <a:p>
            <a:pPr>
              <a:defRPr/>
            </a:pPr>
            <a:r>
              <a:rPr lang="ru-RU" altLang="en-US" sz="2600" b="1" kern="1200" dirty="0" err="1"/>
              <a:t>Сашеты</a:t>
            </a:r>
            <a:r>
              <a:rPr lang="ru-RU" altLang="en-US" sz="2600" b="1" kern="1200" dirty="0"/>
              <a:t> </a:t>
            </a:r>
            <a:r>
              <a:rPr lang="ru-RU" altLang="en-US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  <a:r>
              <a:rPr lang="ru-RU" altLang="en-US" sz="2600" b="1" kern="1200" dirty="0"/>
              <a:t> – отличное решение в воздухе, на земле и на воде!</a:t>
            </a:r>
          </a:p>
        </p:txBody>
      </p:sp>
      <p:pic>
        <p:nvPicPr>
          <p:cNvPr id="19459" name="Picture 5" descr="C:\Users\OMinchen\Desktop\1372054917_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038" y="4802188"/>
            <a:ext cx="2392362" cy="167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6" descr="C:\Users\OMinchen\Desktop\event-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4776788"/>
            <a:ext cx="2541588" cy="170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95288" y="1268413"/>
            <a:ext cx="6386512" cy="40624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реимущества </a:t>
            </a:r>
            <a:r>
              <a:rPr lang="ru-RU" sz="1600" dirty="0" err="1">
                <a:latin typeface="+mj-lt"/>
                <a:cs typeface="Calibri" panose="020F0502020204030204" pitchFamily="34" charset="0"/>
              </a:rPr>
              <a:t>сашетов</a:t>
            </a:r>
            <a:r>
              <a:rPr lang="ru-RU" sz="1600" dirty="0">
                <a:latin typeface="+mj-lt"/>
                <a:cs typeface="Calibri" panose="020F0502020204030204" pitchFamily="34" charset="0"/>
              </a:rPr>
              <a:t> Хайнц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Готовы к подаче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Обладают длительными сроками годности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одходят для вложений в ланч-боксы и готовые блюда</a:t>
            </a:r>
            <a:br>
              <a:rPr lang="ru-RU" sz="1600" dirty="0">
                <a:latin typeface="+mj-lt"/>
                <a:cs typeface="Calibri" panose="020F0502020204030204" pitchFamily="34" charset="0"/>
              </a:rPr>
            </a:b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Область применения</a:t>
            </a:r>
            <a:r>
              <a:rPr lang="en-GB" sz="1600" dirty="0">
                <a:latin typeface="+mj-lt"/>
                <a:cs typeface="Calibri" panose="020F050202020403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транспорт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 err="1">
                <a:latin typeface="+mj-lt"/>
                <a:cs typeface="Calibri" panose="020F0502020204030204" pitchFamily="34" charset="0"/>
              </a:rPr>
              <a:t>кейтринг</a:t>
            </a: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раздач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доставк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+mj-lt"/>
                <a:cs typeface="Calibri" panose="020F0502020204030204" pitchFamily="34" charset="0"/>
              </a:rPr>
              <a:t>B2B</a:t>
            </a:r>
            <a:endParaRPr lang="ru-RU" sz="1600" dirty="0">
              <a:latin typeface="+mj-lt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462" name="Picture 2" descr="\\seumskfp001\Groups\Foodservice\Heinz FS Moscow\NPD\Egypt\Labels\Soya_soshet_ketchup_Egipe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809" y="1300163"/>
            <a:ext cx="1076325" cy="249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3" name="Picture 3" descr="\\seumskfp001\Groups\Foodservice\Heinz FS Moscow\NPD\Egypt\Labels\Soya_soshet_mayonez_Egipe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425" y="1176338"/>
            <a:ext cx="1171575" cy="270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4" name="Прямоугольник 10"/>
          <p:cNvSpPr>
            <a:spLocks noChangeArrowheads="1"/>
          </p:cNvSpPr>
          <p:nvPr/>
        </p:nvSpPr>
        <p:spPr bwMode="auto">
          <a:xfrm>
            <a:off x="6546850" y="3790950"/>
            <a:ext cx="26733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§"/>
              <a:defRPr sz="2200" b="1">
                <a:solidFill>
                  <a:srgbClr val="6B6B6B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45000"/>
              </a:spcBef>
              <a:buClr>
                <a:srgbClr val="E60C00"/>
              </a:buClr>
              <a:buChar char="•"/>
              <a:defRPr sz="2000">
                <a:solidFill>
                  <a:srgbClr val="6B6B6B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E60C00"/>
              </a:buClr>
              <a:buFont typeface="Arial" charset="0"/>
              <a:buChar char="»"/>
              <a:defRPr>
                <a:solidFill>
                  <a:srgbClr val="6B6B6B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rgbClr val="6B6B6B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1500" b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трана-производитель</a:t>
            </a:r>
            <a:r>
              <a:rPr lang="en-GB" altLang="en-US" sz="1500" b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ru-RU" altLang="en-US" sz="1500" b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Египет</a:t>
            </a:r>
          </a:p>
        </p:txBody>
      </p:sp>
      <p:pic>
        <p:nvPicPr>
          <p:cNvPr id="19465" name="Picture 9" descr="C:\Users\nponomar\Desktop\dinn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75" y="4364038"/>
            <a:ext cx="2740025" cy="240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5956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35"/>
          <p:cNvPicPr>
            <a:picLocks noChangeAspect="1" noChangeArrowheads="1"/>
          </p:cNvPicPr>
          <p:nvPr/>
        </p:nvPicPr>
        <p:blipFill>
          <a:blip r:embed="rId2"/>
          <a:srcRect b="15454"/>
          <a:stretch>
            <a:fillRect/>
          </a:stretch>
        </p:blipFill>
        <p:spPr bwMode="auto">
          <a:xfrm rot="574533">
            <a:off x="7605713" y="1233488"/>
            <a:ext cx="1216025" cy="1476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483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275513" cy="990600"/>
          </a:xfrm>
        </p:spPr>
        <p:txBody>
          <a:bodyPr/>
          <a:lstStyle/>
          <a:p>
            <a:pPr>
              <a:defRPr/>
            </a:pPr>
            <a:r>
              <a:rPr lang="ru-RU" altLang="en-US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  <a:r>
              <a:rPr lang="ru-RU" altLang="en-US" sz="2600" b="1" kern="1200" dirty="0"/>
              <a:t> </a:t>
            </a:r>
            <a:r>
              <a:rPr lang="en-US" altLang="en-US" sz="2600" b="1" kern="1200" dirty="0"/>
              <a:t>XXL – </a:t>
            </a:r>
            <a:r>
              <a:rPr lang="ru-RU" altLang="en-US" sz="2600" b="1" kern="1200" dirty="0"/>
              <a:t>идеальный размер для Вашего бизнеса!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95288" y="1268413"/>
            <a:ext cx="6346825" cy="35702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люсы готовых решений от </a:t>
            </a:r>
            <a:r>
              <a:rPr lang="en-US" sz="1600" dirty="0">
                <a:latin typeface="+mj-lt"/>
                <a:cs typeface="Calibri" panose="020F0502020204030204" pitchFamily="34" charset="0"/>
              </a:rPr>
              <a:t>Heinz XXL</a:t>
            </a:r>
            <a:br>
              <a:rPr lang="en-US" sz="1600" dirty="0">
                <a:latin typeface="+mj-lt"/>
                <a:cs typeface="Calibri" panose="020F0502020204030204" pitchFamily="34" charset="0"/>
              </a:rPr>
            </a:br>
            <a:endParaRPr lang="en-US" sz="1600" dirty="0">
              <a:latin typeface="+mj-lt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Вкусы соусов </a:t>
            </a:r>
            <a:r>
              <a:rPr lang="en-US" sz="1600" dirty="0">
                <a:latin typeface="+mj-lt"/>
                <a:cs typeface="Calibri" panose="020F0502020204030204" pitchFamily="34" charset="0"/>
              </a:rPr>
              <a:t>XXL-</a:t>
            </a:r>
            <a:r>
              <a:rPr lang="ru-RU" sz="1600" dirty="0">
                <a:latin typeface="+mj-lt"/>
                <a:cs typeface="Calibri" panose="020F0502020204030204" pitchFamily="34" charset="0"/>
              </a:rPr>
              <a:t>линейки уникальны и доступны только в текущем формате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При использовании готовых соусов исключается человеческий фактор, а значит возможность ошибки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Готовые решения – гарантия стабильного вкуса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Длительные сроки годности</a:t>
            </a:r>
          </a:p>
          <a:p>
            <a:pPr marL="285750" indent="-285750">
              <a:buFontTx/>
              <a:buChar char="-"/>
              <a:defRPr/>
            </a:pPr>
            <a:r>
              <a:rPr lang="ru-RU" sz="1600" dirty="0">
                <a:latin typeface="+mj-lt"/>
                <a:cs typeface="Calibri" panose="020F0502020204030204" pitchFamily="34" charset="0"/>
              </a:rPr>
              <a:t>Соусы </a:t>
            </a:r>
            <a:r>
              <a:rPr lang="en-US" sz="1600" dirty="0">
                <a:latin typeface="+mj-lt"/>
                <a:cs typeface="Calibri" panose="020F0502020204030204" pitchFamily="34" charset="0"/>
              </a:rPr>
              <a:t>Heinz</a:t>
            </a:r>
            <a:r>
              <a:rPr lang="ru-RU" sz="1600" dirty="0">
                <a:latin typeface="+mj-lt"/>
                <a:cs typeface="Calibri" panose="020F0502020204030204" pitchFamily="34" charset="0"/>
              </a:rPr>
              <a:t> всегда готовы к подаче</a:t>
            </a:r>
          </a:p>
          <a:p>
            <a:pPr marL="285750" indent="-285750">
              <a:buFontTx/>
              <a:buChar char="-"/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698906"/>
              </p:ext>
            </p:extLst>
          </p:nvPr>
        </p:nvGraphicFramePr>
        <p:xfrm>
          <a:off x="457200" y="3962400"/>
          <a:ext cx="5037139" cy="1917698"/>
        </p:xfrm>
        <a:graphic>
          <a:graphicData uri="http://schemas.openxmlformats.org/drawingml/2006/table">
            <a:tbl>
              <a:tblPr firstRow="1" firstCol="1" bandRow="1"/>
              <a:tblGrid>
                <a:gridCol w="2194659"/>
                <a:gridCol w="912238"/>
                <a:gridCol w="1930242"/>
              </a:tblGrid>
              <a:tr h="22151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аименование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ес нетто, г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рок годност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етчуп томатный</a:t>
                      </a: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4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оус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арбекью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5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Чесночный соу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1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оус Хот Чил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5 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оус Коктейл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2 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26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оус Сальс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,35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к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21038084">
            <a:off x="6797675" y="4205288"/>
            <a:ext cx="1260475" cy="1870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767161">
            <a:off x="7539038" y="3260725"/>
            <a:ext cx="1392237" cy="13922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21120450">
            <a:off x="6832600" y="2428875"/>
            <a:ext cx="1390650" cy="13906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22" name="Группа 3"/>
          <p:cNvGrpSpPr>
            <a:grpSpLocks/>
          </p:cNvGrpSpPr>
          <p:nvPr/>
        </p:nvGrpSpPr>
        <p:grpSpPr bwMode="auto">
          <a:xfrm>
            <a:off x="5334000" y="5445125"/>
            <a:ext cx="3886200" cy="1260475"/>
            <a:chOff x="1254152" y="4899585"/>
            <a:chExt cx="6041721" cy="1958415"/>
          </a:xfrm>
        </p:grpSpPr>
        <p:pic>
          <p:nvPicPr>
            <p:cNvPr id="20523" name="Picture 3" descr="M:\NPonomar\Дизайн\Jpeg\соусы\TK_png_1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152" y="4913784"/>
              <a:ext cx="1944216" cy="1944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4" name="Picture 2" descr="M:\NPonomar\Дизайн\Jpeg\соусы\bbq_Png_1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736" y="4941167"/>
              <a:ext cx="1890335" cy="1890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5" name="Picture 3" descr="M:\NPonomar\Дизайн\Jpeg\соусы\Garlic_png_1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7824" y="4941168"/>
              <a:ext cx="1884794" cy="18847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6" name="Picture 2" descr="M:\NPonomar\Дизайн\Jpeg\соусы\hot_chili_png_1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920" y="4899585"/>
              <a:ext cx="1913791" cy="1913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7" name="Picture 3" descr="C:\Users\nponomar\Desktop\Coctail_bord_png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4008" y="4966340"/>
              <a:ext cx="1847036" cy="18470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8" name="Picture 2" descr="M:\NPonomar\Дизайн\Jpeg\соусы\Salsa_png_1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6096" y="4953599"/>
              <a:ext cx="1859777" cy="1859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49844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Заголовок 1"/>
          <p:cNvSpPr>
            <a:spLocks noGrp="1"/>
          </p:cNvSpPr>
          <p:nvPr>
            <p:ph type="title"/>
          </p:nvPr>
        </p:nvSpPr>
        <p:spPr>
          <a:xfrm>
            <a:off x="0" y="-32421"/>
            <a:ext cx="7275513" cy="891208"/>
          </a:xfrm>
        </p:spPr>
        <p:txBody>
          <a:bodyPr/>
          <a:lstStyle/>
          <a:p>
            <a:pPr defTabSz="407442">
              <a:defRPr/>
            </a:pPr>
            <a:r>
              <a:rPr lang="ru-RU" sz="2600" b="1" kern="1200" dirty="0"/>
              <a:t>Детское питание </a:t>
            </a:r>
            <a:r>
              <a:rPr lang="ru-RU" sz="2600" b="1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  <a:endParaRPr lang="en-US" sz="2600" b="1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6"/>
          <p:cNvSpPr/>
          <p:nvPr/>
        </p:nvSpPr>
        <p:spPr>
          <a:xfrm>
            <a:off x="429173" y="1916832"/>
            <a:ext cx="4572000" cy="38164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Компания </a:t>
            </a:r>
            <a:r>
              <a:rPr lang="en-GB" sz="1600" dirty="0" smtClean="0">
                <a:solidFill>
                  <a:srgbClr val="000000"/>
                </a:solidFill>
              </a:rPr>
              <a:t>Heinz</a:t>
            </a:r>
            <a:r>
              <a:rPr lang="ru-RU" sz="1600" dirty="0" smtClean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— мировой эксперт по производству детского питания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Высочайшее качество, натуральные ингредиенты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Без использования искусственных ароматизаторов, вкусовых добавок, консервантов, красителей, </a:t>
            </a:r>
            <a:r>
              <a:rPr lang="ru-RU" sz="1600" dirty="0">
                <a:solidFill>
                  <a:srgbClr val="000000"/>
                </a:solidFill>
              </a:rPr>
              <a:t>ГМО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Для полноценного здорового роста и развития малышей детская продукция Heinz дополнительно обогащена витаминами и минералами</a:t>
            </a:r>
            <a:r>
              <a:rPr lang="ru-RU" sz="1600" dirty="0" smtClean="0">
                <a:solidFill>
                  <a:srgbClr val="000000"/>
                </a:solidFill>
              </a:rPr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Ассортимент: </a:t>
            </a:r>
            <a:r>
              <a:rPr lang="ru-RU" sz="1600" b="1" dirty="0" smtClean="0">
                <a:solidFill>
                  <a:srgbClr val="000000"/>
                </a:solidFill>
              </a:rPr>
              <a:t>каши, печенье, 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чаи </a:t>
            </a:r>
            <a:r>
              <a:rPr lang="ru-RU" sz="1600" b="1" dirty="0">
                <a:solidFill>
                  <a:srgbClr val="000000"/>
                </a:solidFill>
              </a:rPr>
              <a:t>и </a:t>
            </a:r>
            <a:r>
              <a:rPr lang="ru-RU" sz="1600" b="1" dirty="0" smtClean="0">
                <a:solidFill>
                  <a:srgbClr val="000000"/>
                </a:solidFill>
              </a:rPr>
              <a:t>соки, фруктовые и 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овощные пюре. </a:t>
            </a:r>
          </a:p>
          <a:p>
            <a:pPr marL="285750" indent="-285750">
              <a:buFont typeface="Arial" pitchFamily="34" charset="0"/>
              <a:buChar char="•"/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19" name="Rectangle 8"/>
          <p:cNvSpPr/>
          <p:nvPr/>
        </p:nvSpPr>
        <p:spPr>
          <a:xfrm>
            <a:off x="269001" y="1270440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</a:rPr>
              <a:t>Мамы выбирают, эксперты рекомендуют</a:t>
            </a:r>
            <a:r>
              <a:rPr lang="ru-RU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0" name="Picture 2" descr="C:\Users\mkrayushkina\AppData\Local\Microsoft\Windows\Temporary Internet Files\Content.Outlook\KN9P7A3X\Pouch_APPLE (2)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2746" y="1270440"/>
            <a:ext cx="1408738" cy="224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mkrayushkina\AppData\Local\Microsoft\Windows\Temporary Internet Files\Content.Outlook\KN9P7A3X\Pouch_PEAR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7740" y="1272374"/>
            <a:ext cx="1449998" cy="2271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mkrayushkina\AppData\Local\Microsoft\Windows\Temporary Internet Files\Content.Outlook\KN9P7A3X\Pouch_MIX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7171" y="1294168"/>
            <a:ext cx="1437065" cy="226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965" y="4432296"/>
            <a:ext cx="3799705" cy="20277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1845" y="4562508"/>
            <a:ext cx="1080120" cy="1917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123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Заголовок 1"/>
          <p:cNvSpPr>
            <a:spLocks noGrp="1"/>
          </p:cNvSpPr>
          <p:nvPr>
            <p:ph type="title"/>
          </p:nvPr>
        </p:nvSpPr>
        <p:spPr>
          <a:xfrm>
            <a:off x="-10821" y="-99392"/>
            <a:ext cx="7275513" cy="990600"/>
          </a:xfrm>
        </p:spPr>
        <p:txBody>
          <a:bodyPr/>
          <a:lstStyle/>
          <a:p>
            <a:pPr defTabSz="407442">
              <a:defRPr/>
            </a:pPr>
            <a:r>
              <a:rPr lang="ru-RU" sz="2600" b="1" kern="1200" dirty="0"/>
              <a:t>Супы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</a:p>
        </p:txBody>
      </p:sp>
      <p:pic>
        <p:nvPicPr>
          <p:cNvPr id="10" name="Picture 16" descr="http://www.heinz.co.uk/media/3541/Classic-Soup-Tomato_162x16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52" r="20197"/>
          <a:stretch/>
        </p:blipFill>
        <p:spPr bwMode="auto">
          <a:xfrm>
            <a:off x="6737890" y="1169520"/>
            <a:ext cx="1069704" cy="1820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2" descr="http://www.heinz.co.uk/media/3544/Classic-Soup-Minestrone_162x16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08" r="20607"/>
          <a:stretch/>
        </p:blipFill>
        <p:spPr bwMode="auto">
          <a:xfrm>
            <a:off x="7958960" y="1169520"/>
            <a:ext cx="1073161" cy="1822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http://www.heinz.co.uk/media/3540/Classic-Soup-Mushroom_162x16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9" r="19929"/>
          <a:stretch/>
        </p:blipFill>
        <p:spPr bwMode="auto">
          <a:xfrm>
            <a:off x="6717024" y="3063190"/>
            <a:ext cx="1095336" cy="1745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http://www.heinz.co.uk/media/3538/Classic-Soup-Chicken_162x162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88" r="19569"/>
          <a:stretch/>
        </p:blipFill>
        <p:spPr bwMode="auto">
          <a:xfrm>
            <a:off x="7946011" y="3063190"/>
            <a:ext cx="1089914" cy="1745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Картинка 40 из 206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584" y="5004135"/>
            <a:ext cx="3240360" cy="15145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5" name="Picture 4" descr="http://img.lady.ru/images/assets/site/2009/11/vkusno/03/tom_soup_mai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024" y="5004136"/>
            <a:ext cx="2149732" cy="14305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6" name="TextBox 15"/>
          <p:cNvSpPr txBox="1"/>
          <p:nvPr/>
        </p:nvSpPr>
        <p:spPr>
          <a:xfrm>
            <a:off x="447355" y="1412776"/>
            <a:ext cx="549279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Натуральный продукт (без искусственных красителей, ароматизаторов, </a:t>
            </a:r>
            <a:r>
              <a:rPr lang="ru-RU" sz="1600" dirty="0" smtClean="0">
                <a:solidFill>
                  <a:srgbClr val="000000"/>
                </a:solidFill>
              </a:rPr>
              <a:t>консервантов</a:t>
            </a:r>
            <a:r>
              <a:rPr lang="ru-RU" sz="1600" dirty="0">
                <a:solidFill>
                  <a:srgbClr val="000000"/>
                </a:solidFill>
              </a:rPr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олезный продукт (низкое содержание жира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Самые популярные вкусы на родине в </a:t>
            </a:r>
            <a:r>
              <a:rPr lang="en-US" sz="1600" dirty="0">
                <a:solidFill>
                  <a:srgbClr val="000000"/>
                </a:solidFill>
              </a:rPr>
              <a:t>UK </a:t>
            </a:r>
            <a:r>
              <a:rPr lang="ru-RU" sz="1600" dirty="0">
                <a:solidFill>
                  <a:srgbClr val="000000"/>
                </a:solidFill>
              </a:rPr>
              <a:t>и одни из самых популярных в Росси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Длительные сроки годност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Удобные </a:t>
            </a:r>
            <a:r>
              <a:rPr lang="ru-RU" sz="1600" dirty="0">
                <a:solidFill>
                  <a:srgbClr val="000000"/>
                </a:solidFill>
              </a:rPr>
              <a:t>форматы упаковок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000" dirty="0">
              <a:solidFill>
                <a:srgbClr val="000000"/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762985"/>
              </p:ext>
            </p:extLst>
          </p:nvPr>
        </p:nvGraphicFramePr>
        <p:xfrm>
          <a:off x="447355" y="3356992"/>
          <a:ext cx="6212877" cy="135670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216565"/>
                <a:gridCol w="916804"/>
                <a:gridCol w="3079508"/>
              </a:tblGrid>
              <a:tr h="2880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Название продукта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Вес нетто, г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Условия хранения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21983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+mj-lt"/>
                        </a:rPr>
                        <a:t>Суп-пюре "Хайнц" Грибной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400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24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а. Хранить при </a:t>
                      </a:r>
                      <a:r>
                        <a:rPr lang="en-GB" sz="1100" dirty="0">
                          <a:effectLst/>
                          <a:latin typeface="+mj-lt"/>
                        </a:rPr>
                        <a:t>t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Суп-пюре "Хайнц" Куриный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400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24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а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04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Суп-пюре "Хайнц" Минестроне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400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12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ев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04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Суп-пюре "Хайнц" Томатный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400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16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ев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782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0" y="260648"/>
            <a:ext cx="9144000" cy="614065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>
                <a:solidFill>
                  <a:srgbClr val="FFFFFF"/>
                </a:solidFill>
                <a:latin typeface="Calibri"/>
              </a:rPr>
              <a:t>ХАЙНЦ </a:t>
            </a:r>
            <a:r>
              <a:rPr lang="en-US" sz="2600" b="1" dirty="0">
                <a:solidFill>
                  <a:srgbClr val="FFFFFF"/>
                </a:solidFill>
                <a:latin typeface="Calibri"/>
              </a:rPr>
              <a:t>– </a:t>
            </a:r>
            <a:r>
              <a:rPr lang="ru-RU" sz="2600" b="1" dirty="0">
                <a:solidFill>
                  <a:srgbClr val="FFFFFF"/>
                </a:solidFill>
                <a:latin typeface="Calibri"/>
              </a:rPr>
              <a:t>самый любимый кетчуп в мир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4338" y="1303338"/>
            <a:ext cx="6240462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76284" y="1447800"/>
            <a:ext cx="7010400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  <a:latin typeface="Calibri"/>
                <a:cs typeface="Arial" charset="0"/>
              </a:rPr>
              <a:t>ХАЙНЦ – глобальная компания с портфелем торговых марок мирового уровня, которые занимают позиции №1 или №2 в своих категориях более чем в 50 странах мира.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dirty="0" smtClean="0">
              <a:solidFill>
                <a:srgbClr val="000000"/>
              </a:solidFill>
              <a:latin typeface="Calibri"/>
              <a:cs typeface="Arial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  <a:latin typeface="Calibri"/>
                <a:cs typeface="Arial" charset="0"/>
              </a:rPr>
              <a:t>ХАЙНЦ – признанный лидер в производстве продуктов питания и пропаганде здорового образа жизни.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dirty="0" smtClean="0">
              <a:solidFill>
                <a:srgbClr val="000000"/>
              </a:solidFill>
              <a:latin typeface="Calibri"/>
              <a:cs typeface="Arial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Хайнц-бренд №1 среди кетчупов и соусов!</a:t>
            </a:r>
            <a:r>
              <a:rPr lang="en-US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*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Heinz – самый популярный кетчуп в мире</a:t>
            </a:r>
            <a:r>
              <a:rPr lang="en-US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! *</a:t>
            </a:r>
            <a:endParaRPr lang="ru-RU" sz="2000" dirty="0" smtClean="0">
              <a:solidFill>
                <a:srgbClr val="FF0000"/>
              </a:solidFill>
              <a:latin typeface="Calibri"/>
              <a:cs typeface="Arial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№1 В РОССИИ В КАТЕГОРИИ ДЕТСКИХ КАШЕК</a:t>
            </a:r>
            <a:r>
              <a:rPr lang="en-US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 </a:t>
            </a:r>
            <a:r>
              <a:rPr lang="ru-RU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И ДЕТСКОГО ПЕЧЕНЬЯ!</a:t>
            </a:r>
            <a:r>
              <a:rPr lang="en-US" sz="2000" dirty="0" smtClean="0">
                <a:solidFill>
                  <a:srgbClr val="FF0000"/>
                </a:solidFill>
                <a:latin typeface="Calibri"/>
                <a:cs typeface="Arial" charset="0"/>
              </a:rPr>
              <a:t>*</a:t>
            </a:r>
            <a:endParaRPr lang="ru-RU" sz="2000" dirty="0">
              <a:solidFill>
                <a:srgbClr val="FF0000"/>
              </a:solidFill>
              <a:latin typeface="Calibri"/>
              <a:cs typeface="Arial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303338"/>
            <a:ext cx="1175412" cy="3706465"/>
          </a:xfrm>
          <a:prstGeom prst="rect">
            <a:avLst/>
          </a:prstGeom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06" y="5746450"/>
            <a:ext cx="7559675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84511" y="4859251"/>
            <a:ext cx="7726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Calibri"/>
                <a:cs typeface="Arial" charset="0"/>
              </a:rPr>
              <a:t>                                </a:t>
            </a:r>
            <a:r>
              <a:rPr lang="ru-RU" sz="2400" dirty="0" smtClean="0">
                <a:solidFill>
                  <a:srgbClr val="000000"/>
                </a:solidFill>
                <a:latin typeface="Calibri"/>
                <a:cs typeface="Arial" charset="0"/>
              </a:rPr>
              <a:t>МЫ УМЕЕМ СОТРУДНИЧАТЬ</a:t>
            </a:r>
            <a:r>
              <a:rPr lang="ru-RU" sz="2400" dirty="0">
                <a:solidFill>
                  <a:srgbClr val="000000"/>
                </a:solidFill>
                <a:latin typeface="Calibri"/>
                <a:cs typeface="Arial" charset="0"/>
              </a:rPr>
              <a:t>,</a:t>
            </a:r>
            <a:endParaRPr lang="ru-RU" sz="2400" dirty="0" smtClean="0">
              <a:solidFill>
                <a:srgbClr val="000000"/>
              </a:solidFill>
              <a:latin typeface="Calibri"/>
              <a:cs typeface="Arial" charset="0"/>
            </a:endParaRPr>
          </a:p>
          <a:p>
            <a:r>
              <a:rPr lang="ru-RU" sz="2400" dirty="0" smtClean="0">
                <a:solidFill>
                  <a:srgbClr val="000000"/>
                </a:solidFill>
                <a:latin typeface="Calibri"/>
                <a:cs typeface="Arial" charset="0"/>
              </a:rPr>
              <a:t>НАШИМИ СТРАТЕГИЧЕСКИМИ ПАРТНЕРАМИ ЯВЛЯЮТСЯ</a:t>
            </a:r>
            <a:endParaRPr lang="en-US" sz="2400" dirty="0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85748" y="6343350"/>
            <a:ext cx="84507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rgbClr val="FF0000"/>
                </a:solidFill>
                <a:latin typeface="Calibri"/>
                <a:cs typeface="Arial" charset="0"/>
              </a:rPr>
              <a:t>*</a:t>
            </a:r>
            <a:r>
              <a:rPr lang="ru-RU" sz="1000" i="1" dirty="0" err="1" smtClean="0">
                <a:solidFill>
                  <a:srgbClr val="FF0000"/>
                </a:solidFill>
                <a:cs typeface="Arial" charset="0"/>
              </a:rPr>
              <a:t>Euromonitor</a:t>
            </a:r>
            <a:r>
              <a:rPr lang="ru-RU" sz="1000" i="1" dirty="0" smtClean="0">
                <a:solidFill>
                  <a:srgbClr val="FF0000"/>
                </a:solidFill>
                <a:cs typeface="Arial" charset="0"/>
              </a:rPr>
              <a:t> </a:t>
            </a:r>
            <a:r>
              <a:rPr lang="ru-RU" sz="1000" i="1" dirty="0" err="1" smtClean="0">
                <a:solidFill>
                  <a:srgbClr val="FF0000"/>
                </a:solidFill>
                <a:cs typeface="Arial" charset="0"/>
              </a:rPr>
              <a:t>International</a:t>
            </a:r>
            <a:r>
              <a:rPr lang="ru-RU" sz="1000" i="1" dirty="0" smtClean="0">
                <a:solidFill>
                  <a:srgbClr val="FF0000"/>
                </a:solidFill>
                <a:cs typeface="Arial" charset="0"/>
              </a:rPr>
              <a:t> </a:t>
            </a:r>
            <a:r>
              <a:rPr lang="ru-RU" sz="1000" i="1" dirty="0" err="1" smtClean="0">
                <a:solidFill>
                  <a:srgbClr val="FF0000"/>
                </a:solidFill>
                <a:cs typeface="Arial" charset="0"/>
              </a:rPr>
              <a:t>Limited</a:t>
            </a:r>
            <a:r>
              <a:rPr lang="ru-RU" sz="1000" i="1" dirty="0" smtClean="0">
                <a:solidFill>
                  <a:srgbClr val="FF0000"/>
                </a:solidFill>
                <a:cs typeface="Arial" charset="0"/>
              </a:rPr>
              <a:t>; продажи в денежном выражении в розничных ценах, 2009-2014</a:t>
            </a:r>
            <a:endParaRPr lang="en-US" sz="1000" i="1" dirty="0">
              <a:solidFill>
                <a:srgbClr val="FF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00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275513" cy="836712"/>
          </a:xfrm>
        </p:spPr>
        <p:txBody>
          <a:bodyPr/>
          <a:lstStyle/>
          <a:p>
            <a:pPr defTabSz="407442">
              <a:defRPr/>
            </a:pPr>
            <a:r>
              <a:rPr lang="ru-RU" sz="2600" b="1" kern="1200" dirty="0"/>
              <a:t>Острые соусы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</a:p>
        </p:txBody>
      </p:sp>
      <p:pic>
        <p:nvPicPr>
          <p:cNvPr id="17" name="Рисунок 16" descr="http://ssl.profiresearch.net/media/projects/1218/t_s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53" b="7707"/>
          <a:stretch/>
        </p:blipFill>
        <p:spPr bwMode="auto">
          <a:xfrm>
            <a:off x="6121830" y="1242492"/>
            <a:ext cx="2600830" cy="3122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T:\HCE\0300 HCE KC&amp;S Brands &amp; Category\0392 Communication\HOT Sauces\pictures\Jalepeno\Recipe A\HCE Retail\Jpeg\pizza-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4701478"/>
            <a:ext cx="2514602" cy="1676401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T:\HCE\0300 HCE KC&amp;S Brands &amp; Category\0392 Communication\HOT Sauces\pictures\Habanero\Recipe C\HCE Retail\Jpeg\Stir Fry-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701479"/>
            <a:ext cx="2524068" cy="1682712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T:\HCE\0300 HCE KC&amp;S Brands &amp; Category\0392 Communication\HOT Sauces\pictures\Jalepeno\Recipe B\HCE Retail\Jpeg\Mex Soup-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701479"/>
            <a:ext cx="2528450" cy="1685633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173982"/>
              </p:ext>
            </p:extLst>
          </p:nvPr>
        </p:nvGraphicFramePr>
        <p:xfrm>
          <a:off x="467544" y="3018418"/>
          <a:ext cx="5515396" cy="134668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31020"/>
                <a:gridCol w="792088"/>
                <a:gridCol w="2592288"/>
              </a:tblGrid>
              <a:tr h="2359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Название продукта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Вес нетто, г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Условия хранения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3408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  <a:latin typeface="+mj-lt"/>
                        </a:rPr>
                        <a:t>Перечный</a:t>
                      </a:r>
                      <a:r>
                        <a:rPr lang="en-GB" sz="1100" dirty="0">
                          <a:effectLst/>
                          <a:latin typeface="+mj-lt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+mj-lt"/>
                        </a:rPr>
                        <a:t>соус</a:t>
                      </a:r>
                      <a:r>
                        <a:rPr lang="en-GB" sz="1100" dirty="0">
                          <a:effectLst/>
                          <a:latin typeface="+mj-lt"/>
                        </a:rPr>
                        <a:t> «</a:t>
                      </a:r>
                      <a:r>
                        <a:rPr lang="en-GB" sz="1100" dirty="0" err="1">
                          <a:effectLst/>
                          <a:latin typeface="+mj-lt"/>
                        </a:rPr>
                        <a:t>Чипотле</a:t>
                      </a:r>
                      <a:r>
                        <a:rPr lang="en-GB" sz="1100" dirty="0">
                          <a:effectLst/>
                          <a:latin typeface="+mj-lt"/>
                        </a:rPr>
                        <a:t>» </a:t>
                      </a:r>
                      <a:r>
                        <a:rPr lang="en-GB" sz="1100" dirty="0" err="1">
                          <a:effectLst/>
                          <a:latin typeface="+mj-lt"/>
                        </a:rPr>
                        <a:t>Хайнц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j-lt"/>
                        </a:rPr>
                        <a:t>160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12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ев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064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Перечный соус «Халапеньо» Хайнц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160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12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месяцев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359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Перечный соус «Хабанеро» Хайнц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+mj-lt"/>
                        </a:rPr>
                        <a:t>160</a:t>
                      </a:r>
                      <a:endParaRPr lang="ru-RU" sz="110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j-lt"/>
                        </a:rPr>
                        <a:t> </a:t>
                      </a:r>
                      <a:r>
                        <a:rPr lang="ru-RU" sz="1100" dirty="0">
                          <a:effectLst/>
                          <a:latin typeface="+mj-lt"/>
                        </a:rPr>
                        <a:t>12 месяцев. Хранить при t от +4°С до +25°С.</a:t>
                      </a:r>
                      <a:endParaRPr lang="ru-RU" sz="1100" dirty="0">
                        <a:effectLst/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3" name="Прямоугольник 6"/>
          <p:cNvSpPr/>
          <p:nvPr/>
        </p:nvSpPr>
        <p:spPr>
          <a:xfrm>
            <a:off x="390410" y="1628800"/>
            <a:ext cx="57314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Тренд рынка - острый вкус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Умеренные цены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Натуральные ингредиенты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</a:rPr>
              <a:t>Уникальные рецептуры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99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7666856" cy="775321"/>
          </a:xfrm>
        </p:spPr>
        <p:txBody>
          <a:bodyPr/>
          <a:lstStyle/>
          <a:p>
            <a:pPr defTabSz="407442">
              <a:defRPr/>
            </a:pPr>
            <a:r>
              <a:rPr lang="ru-RU" sz="2600" b="1" kern="1200" dirty="0"/>
              <a:t>Преимущества </a:t>
            </a:r>
            <a:r>
              <a:rPr lang="ru-RU" sz="26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ХАЙНЦ</a:t>
            </a:r>
            <a:r>
              <a:rPr lang="ru-RU" sz="2600" b="1" kern="1200" dirty="0"/>
              <a:t> Фудсервис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95536" y="1916832"/>
            <a:ext cx="532859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Высокое и </a:t>
            </a:r>
            <a:r>
              <a:rPr lang="ru-RU" sz="1600" dirty="0" smtClean="0">
                <a:latin typeface="+mj-lt"/>
              </a:rPr>
              <a:t>стабильное </a:t>
            </a: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качество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Известный бренд Хайнц </a:t>
            </a:r>
            <a:endParaRPr lang="en-US" sz="160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Высокий </a:t>
            </a:r>
            <a:r>
              <a:rPr lang="ru-RU" sz="1600" dirty="0">
                <a:latin typeface="+mj-lt"/>
              </a:rPr>
              <a:t>стандарт поставщиков ингредиентов </a:t>
            </a:r>
            <a:endParaRPr lang="en-US" sz="1600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Современное производство</a:t>
            </a:r>
            <a:endParaRPr lang="en-US" sz="160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Уникальная продуктовая линейка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Инновации</a:t>
            </a:r>
            <a:endParaRPr lang="ru-RU" sz="1600" dirty="0" smtClean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Постоянное обновление ассортимента</a:t>
            </a:r>
            <a:endParaRPr lang="en-US" sz="160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Поддержка и консультации от нашего Шеф-повара*</a:t>
            </a:r>
            <a:endParaRPr lang="en-US" sz="1600" dirty="0"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Разработка и производство </a:t>
            </a:r>
            <a:r>
              <a:rPr lang="ru-RU" sz="1600" dirty="0" smtClean="0">
                <a:latin typeface="+mj-lt"/>
              </a:rPr>
              <a:t>POSM р</a:t>
            </a: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екламных материалов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Промо и сезонные предложения </a:t>
            </a:r>
            <a:endParaRPr lang="en-US" sz="1600" dirty="0">
              <a:solidFill>
                <a:schemeClr val="tx1"/>
              </a:solidFill>
              <a:latin typeface="+mj-lt"/>
            </a:endParaRPr>
          </a:p>
          <a:p>
            <a:endParaRPr lang="en-US" b="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504" y="5991853"/>
            <a:ext cx="576472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 smtClean="0"/>
              <a:t>* Кормилицын </a:t>
            </a:r>
            <a:r>
              <a:rPr lang="ru-RU" sz="1000" i="1" dirty="0"/>
              <a:t>Михаил </a:t>
            </a:r>
            <a:r>
              <a:rPr lang="ru-RU" sz="1000" i="1" dirty="0" smtClean="0"/>
              <a:t>- Член </a:t>
            </a:r>
            <a:r>
              <a:rPr lang="ru-RU" sz="1000" i="1" dirty="0"/>
              <a:t>Российской Ассоциации Кулинаров. Независимый эксперт МАК России. </a:t>
            </a:r>
          </a:p>
          <a:p>
            <a:r>
              <a:rPr lang="ru-RU" sz="1000" i="1" dirty="0" smtClean="0"/>
              <a:t>   Судья </a:t>
            </a:r>
            <a:r>
              <a:rPr lang="ru-RU" sz="1000" i="1" dirty="0"/>
              <a:t>российских и зарубежных кулинарных чемпионатов и конкурсов. </a:t>
            </a:r>
          </a:p>
          <a:p>
            <a:r>
              <a:rPr lang="ru-RU" sz="1000" i="1" dirty="0" smtClean="0"/>
              <a:t>   В </a:t>
            </a:r>
            <a:r>
              <a:rPr lang="ru-RU" sz="1000" i="1" dirty="0"/>
              <a:t>2008 г. награжден  Знаком Достоинства “Кулинарная элита России” </a:t>
            </a:r>
          </a:p>
          <a:p>
            <a:endParaRPr lang="ru-RU" dirty="0"/>
          </a:p>
          <a:p>
            <a:r>
              <a:rPr lang="ru-RU" dirty="0" smtClean="0"/>
              <a:t> 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1124744"/>
            <a:ext cx="2592288" cy="4719233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1648743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90499" y="435383"/>
            <a:ext cx="7891340" cy="2012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07442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Рекламные материалы </a:t>
            </a:r>
            <a:r>
              <a:rPr lang="ru-RU" sz="2600" b="1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ХАЙНЦ</a:t>
            </a:r>
            <a:r>
              <a:rPr lang="ru-RU" sz="26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600" b="1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Фудсервис</a:t>
            </a:r>
            <a:endParaRPr lang="en-US" sz="26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endParaRPr lang="en-US" sz="2600" b="1" dirty="0">
              <a:solidFill>
                <a:schemeClr val="bg1"/>
              </a:solidFill>
            </a:endParaRPr>
          </a:p>
          <a:p>
            <a:endParaRPr lang="en-US" sz="2600" b="1" dirty="0" smtClean="0">
              <a:solidFill>
                <a:schemeClr val="bg1"/>
              </a:solidFill>
            </a:endParaRPr>
          </a:p>
          <a:p>
            <a:r>
              <a:rPr lang="en-US" sz="2600" b="1" dirty="0" smtClean="0">
                <a:solidFill>
                  <a:schemeClr val="bg1"/>
                </a:solidFill>
              </a:rPr>
              <a:t>,,</a:t>
            </a:r>
            <a:r>
              <a:rPr lang="en-US" sz="800" b="1" dirty="0" smtClean="0">
                <a:solidFill>
                  <a:schemeClr val="bg1"/>
                </a:solidFill>
              </a:rPr>
              <a:t>,</a:t>
            </a:r>
            <a:endParaRPr lang="en-US" sz="800" b="1" dirty="0">
              <a:solidFill>
                <a:schemeClr val="bg1"/>
              </a:solidFill>
            </a:endParaRPr>
          </a:p>
          <a:p>
            <a:endParaRPr lang="ru-RU" sz="2600" b="1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5392297"/>
            <a:ext cx="788692" cy="12243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923" y="1307088"/>
            <a:ext cx="1341623" cy="75466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9" y="3020159"/>
            <a:ext cx="1156581" cy="111349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739" y="3062144"/>
            <a:ext cx="1155359" cy="138230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873" y="3081103"/>
            <a:ext cx="1079761" cy="211237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271" y="4891438"/>
            <a:ext cx="1112493" cy="123831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290" y="1274752"/>
            <a:ext cx="1003475" cy="204344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970" y="5277230"/>
            <a:ext cx="811423" cy="647596"/>
          </a:xfrm>
          <a:prstGeom prst="rect">
            <a:avLst/>
          </a:prstGeom>
          <a:effectLst/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860" y="2646055"/>
            <a:ext cx="1155551" cy="198347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36" y="4587773"/>
            <a:ext cx="1183051" cy="88728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68" y="2705905"/>
            <a:ext cx="1076993" cy="1416758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486" y="2013913"/>
            <a:ext cx="1079001" cy="1024136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160" y="1202407"/>
            <a:ext cx="1740102" cy="181260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844" y="3914745"/>
            <a:ext cx="1014518" cy="1319477"/>
          </a:xfrm>
          <a:prstGeom prst="rect">
            <a:avLst/>
          </a:prstGeom>
        </p:spPr>
      </p:pic>
      <p:pic>
        <p:nvPicPr>
          <p:cNvPr id="6166" name="Picture 22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22" t="11178" r="20947" b="33111"/>
          <a:stretch/>
        </p:blipFill>
        <p:spPr bwMode="auto">
          <a:xfrm>
            <a:off x="6358610" y="1274752"/>
            <a:ext cx="602190" cy="652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67" name="Picture 23" descr="M:\Foodservice\POSM Foodservice\Костер 2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7755" y="5733159"/>
            <a:ext cx="734005" cy="692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5761" y="5140579"/>
            <a:ext cx="999326" cy="1183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579" y="3575437"/>
            <a:ext cx="1035869" cy="1465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20503" flipH="1">
            <a:off x="6146024" y="4360838"/>
            <a:ext cx="317761" cy="672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252" y="3020159"/>
            <a:ext cx="879567" cy="78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6" descr="\\seumskfp001\Users\Foodservice\POSM Foodservice\Блокнот (1)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53074">
            <a:off x="8033519" y="1477712"/>
            <a:ext cx="791374" cy="105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image001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57" y="1145569"/>
            <a:ext cx="976515" cy="1294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1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12" t="66996" r="31028" b="1226"/>
          <a:stretch/>
        </p:blipFill>
        <p:spPr bwMode="auto">
          <a:xfrm>
            <a:off x="6807883" y="4412646"/>
            <a:ext cx="418581" cy="350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Группа 34"/>
          <p:cNvGrpSpPr/>
          <p:nvPr/>
        </p:nvGrpSpPr>
        <p:grpSpPr>
          <a:xfrm>
            <a:off x="4502863" y="5328478"/>
            <a:ext cx="776331" cy="1192697"/>
            <a:chOff x="5823600" y="5670459"/>
            <a:chExt cx="621973" cy="910843"/>
          </a:xfrm>
        </p:grpSpPr>
        <p:pic>
          <p:nvPicPr>
            <p:cNvPr id="36" name="Picture 2" descr="C:\Documents and Settings\ksemenova\My Documents\Marketing\pics\Cut TK bottle\Antena_175x256_3_curve copy.jp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3600" y="5670459"/>
              <a:ext cx="621973" cy="91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Овал 36"/>
            <p:cNvSpPr/>
            <p:nvPr/>
          </p:nvSpPr>
          <p:spPr bwMode="auto">
            <a:xfrm>
              <a:off x="5960078" y="5757850"/>
              <a:ext cx="349018" cy="45719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</a:endParaRPr>
            </a:p>
          </p:txBody>
        </p:sp>
      </p:grpSp>
      <p:pic>
        <p:nvPicPr>
          <p:cNvPr id="6146" name="Picture 2" descr="\\seumskfp001\Users\Foodservice\POSM Foodservice\soy saucer.jp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533" y="2040424"/>
            <a:ext cx="1021720" cy="1021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7402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ded0dc7a-4d4c-4834-81bb-1b02db4e3e09@hjheinz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1880" y="1350235"/>
            <a:ext cx="2388518" cy="1934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3" name="Picture 3" descr="d2f71afc-b8ea-48f9-b696-a3acbf421830@hjheinz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61515" y="5025327"/>
            <a:ext cx="1801456" cy="13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4" name="Picture 4" descr="5f64025c-e646-488f-a7b8-a771160a6ba1@hjheinz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058" y="1483880"/>
            <a:ext cx="1227700" cy="89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5" name="Picture 5" descr="59bed2ab-0a93-4b3e-903f-526d16c8adb2@hjheinz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23384" y="2073958"/>
            <a:ext cx="1448347" cy="15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6" descr="48958c5a-07df-4be6-ab15-92a01bab0e46@hjheinz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904" y="4895907"/>
            <a:ext cx="1694811" cy="1667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7" descr="62d91c58-f883-4fe5-977b-b26f0d6f9a10@hjheinz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94683" y="3761978"/>
            <a:ext cx="2267744" cy="1565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9" name="Picture 9" descr="b71250a2-9270-4aa7-861b-dfc686678740@hjheinz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3004" y="4200726"/>
            <a:ext cx="781611" cy="781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31" name="Picture 11" descr="349d8177-73db-453d-946d-051a8e09b448@hjheinz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0893" y="1116549"/>
            <a:ext cx="734662" cy="73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32" name="Picture 12" descr="M:\Foodservice\Heinz FS Moscow\NPD\Top Down Pudlishki\tom1.jpg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04" y="2892461"/>
            <a:ext cx="1432050" cy="130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4" name="Picture 14" descr="M:\Foodservice\Heinz FS Moscow\NPD\Top Down Pudlishki\tom2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8922" y="3811182"/>
            <a:ext cx="1569499" cy="117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5" name="Picture 15" descr="M:\Foodservice\Heinz FS Moscow\NPD\Top Down Pudlishki\tom3.jp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8689" y="5372844"/>
            <a:ext cx="1455613" cy="1091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483768" y="3284984"/>
            <a:ext cx="4104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</a:rPr>
              <a:t>Спасибо!!!</a:t>
            </a:r>
            <a:endParaRPr lang="ru-RU" sz="3200" b="1" dirty="0">
              <a:solidFill>
                <a:srgbClr val="C00000"/>
              </a:solidFill>
            </a:endParaRPr>
          </a:p>
        </p:txBody>
      </p:sp>
      <p:pic>
        <p:nvPicPr>
          <p:cNvPr id="30736" name="Picture 16" descr="M:\Foodservice\Heinz FS Moscow\NPD\Top Down Pudlishki\759tomatoes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3768" y="5447930"/>
            <a:ext cx="1340353" cy="89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7" name="Picture 17" descr="M:\Foodservice\Heinz FS Moscow\NPD\Top Down Pudlishki\tom4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3004" y="2641663"/>
            <a:ext cx="358213" cy="34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38" name="Picture 18" descr="ef2466e6-a704-4eb8-b0d5-00e8db3e08af@hjheinz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94416" y="1153332"/>
            <a:ext cx="777728" cy="780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9399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652" y="1458652"/>
            <a:ext cx="7920880" cy="4752528"/>
          </a:xfrm>
          <a:prstGeom prst="rect">
            <a:avLst/>
          </a:prstGeom>
        </p:spPr>
      </p:pic>
      <p:sp>
        <p:nvSpPr>
          <p:cNvPr id="10" name="Скругленная прямоугольная выноска 9"/>
          <p:cNvSpPr/>
          <p:nvPr/>
        </p:nvSpPr>
        <p:spPr bwMode="auto">
          <a:xfrm>
            <a:off x="5896233" y="1273484"/>
            <a:ext cx="1206253" cy="504056"/>
          </a:xfrm>
          <a:prstGeom prst="wedgeRoundRectCallout">
            <a:avLst>
              <a:gd name="adj1" fmla="val -21504"/>
              <a:gd name="adj2" fmla="val 157423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1" name="Скругленная прямоугольная выноска 10"/>
          <p:cNvSpPr/>
          <p:nvPr/>
        </p:nvSpPr>
        <p:spPr bwMode="auto">
          <a:xfrm>
            <a:off x="5397137" y="3634172"/>
            <a:ext cx="1295400" cy="504056"/>
          </a:xfrm>
          <a:prstGeom prst="wedgeRoundRectCallout">
            <a:avLst>
              <a:gd name="adj1" fmla="val -43954"/>
              <a:gd name="adj2" fmla="val -132483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4" name="Скругленная прямоугольная выноска 13"/>
          <p:cNvSpPr/>
          <p:nvPr/>
        </p:nvSpPr>
        <p:spPr bwMode="auto">
          <a:xfrm>
            <a:off x="3837742" y="1096194"/>
            <a:ext cx="1235452" cy="576064"/>
          </a:xfrm>
          <a:prstGeom prst="wedgeRoundRectCallout">
            <a:avLst>
              <a:gd name="adj1" fmla="val -13543"/>
              <a:gd name="adj2" fmla="val 197133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6" name="Скругленная прямоугольная выноска 15"/>
          <p:cNvSpPr/>
          <p:nvPr/>
        </p:nvSpPr>
        <p:spPr bwMode="auto">
          <a:xfrm>
            <a:off x="331612" y="1030478"/>
            <a:ext cx="1620885" cy="504056"/>
          </a:xfrm>
          <a:prstGeom prst="wedgeRoundRectCallout">
            <a:avLst>
              <a:gd name="adj1" fmla="val 64133"/>
              <a:gd name="adj2" fmla="val 172792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7" name="Скругленная прямоугольная выноска 16"/>
          <p:cNvSpPr/>
          <p:nvPr/>
        </p:nvSpPr>
        <p:spPr bwMode="auto">
          <a:xfrm>
            <a:off x="123114" y="3429000"/>
            <a:ext cx="1316318" cy="504056"/>
          </a:xfrm>
          <a:prstGeom prst="wedgeRoundRectCallout">
            <a:avLst>
              <a:gd name="adj1" fmla="val 67515"/>
              <a:gd name="adj2" fmla="val -204911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1612" y="1128650"/>
            <a:ext cx="15736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#</a:t>
            </a:r>
            <a:r>
              <a:rPr lang="ru-RU" sz="1200" b="1" dirty="0" smtClean="0"/>
              <a:t>1 </a:t>
            </a:r>
            <a:r>
              <a:rPr lang="en-US" sz="1200" b="1" dirty="0" smtClean="0"/>
              <a:t>in Canada </a:t>
            </a:r>
            <a:r>
              <a:rPr lang="ru-RU" sz="1200" b="1" dirty="0" smtClean="0"/>
              <a:t>83%</a:t>
            </a:r>
            <a:endParaRPr lang="en-US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3833329" y="1124744"/>
            <a:ext cx="12354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 </a:t>
            </a:r>
            <a:r>
              <a:rPr lang="en-US" sz="1200" b="1" dirty="0"/>
              <a:t>#</a:t>
            </a:r>
            <a:r>
              <a:rPr lang="ru-RU" sz="1200" b="1" dirty="0" smtClean="0"/>
              <a:t>1 </a:t>
            </a:r>
            <a:r>
              <a:rPr lang="en-US" sz="1200" b="1" dirty="0" smtClean="0"/>
              <a:t>in Great Britain 80%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5920509" y="1315875"/>
            <a:ext cx="1187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#</a:t>
            </a:r>
            <a:r>
              <a:rPr lang="ru-RU" sz="1200" b="1" dirty="0" smtClean="0"/>
              <a:t> 1 </a:t>
            </a:r>
            <a:r>
              <a:rPr lang="en-US" sz="1200" b="1" dirty="0" smtClean="0"/>
              <a:t>in Russia </a:t>
            </a:r>
            <a:r>
              <a:rPr lang="ru-RU" sz="1200" b="1" dirty="0" smtClean="0"/>
              <a:t>3</a:t>
            </a:r>
            <a:r>
              <a:rPr lang="en-US" sz="1200" b="1" dirty="0" smtClean="0"/>
              <a:t>0</a:t>
            </a:r>
            <a:r>
              <a:rPr lang="ru-RU" sz="1200" b="1" dirty="0" smtClean="0"/>
              <a:t>%</a:t>
            </a:r>
            <a:endParaRPr lang="ru-RU" sz="12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23112" y="4859287"/>
            <a:ext cx="17020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#</a:t>
            </a:r>
            <a:r>
              <a:rPr lang="ru-RU" sz="1400" b="1" dirty="0" smtClean="0"/>
              <a:t>1 </a:t>
            </a:r>
            <a:r>
              <a:rPr lang="en-US" sz="1400" b="1" dirty="0" smtClean="0"/>
              <a:t>in Venezuela 68</a:t>
            </a:r>
            <a:r>
              <a:rPr lang="ru-RU" sz="1400" b="1" dirty="0" smtClean="0"/>
              <a:t>%</a:t>
            </a:r>
            <a:endParaRPr lang="ru-RU" sz="14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397137" y="3718448"/>
            <a:ext cx="129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#1 in UAE 40 %</a:t>
            </a:r>
            <a:endParaRPr lang="ru-RU" sz="1200" b="1" dirty="0"/>
          </a:p>
        </p:txBody>
      </p:sp>
      <p:sp>
        <p:nvSpPr>
          <p:cNvPr id="23" name="Скругленная прямоугольная выноска 22"/>
          <p:cNvSpPr/>
          <p:nvPr/>
        </p:nvSpPr>
        <p:spPr bwMode="auto">
          <a:xfrm>
            <a:off x="40591" y="4761148"/>
            <a:ext cx="1784591" cy="504056"/>
          </a:xfrm>
          <a:prstGeom prst="wedgeRoundRectCallout">
            <a:avLst>
              <a:gd name="adj1" fmla="val 79937"/>
              <a:gd name="adj2" fmla="val -207504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6094" y="3527139"/>
            <a:ext cx="1183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#</a:t>
            </a:r>
            <a:r>
              <a:rPr lang="ru-RU" sz="1400" b="1" dirty="0" smtClean="0"/>
              <a:t>1 </a:t>
            </a:r>
            <a:r>
              <a:rPr lang="en-US" sz="1400" b="1" dirty="0" smtClean="0"/>
              <a:t>in US 60</a:t>
            </a:r>
            <a:r>
              <a:rPr lang="ru-RU" sz="1400" b="1" dirty="0" smtClean="0"/>
              <a:t>% </a:t>
            </a:r>
            <a:endParaRPr lang="en-US" sz="14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40591" y="404664"/>
            <a:ext cx="910340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 smtClean="0">
                <a:solidFill>
                  <a:srgbClr val="FFFFFF"/>
                </a:solidFill>
                <a:latin typeface="Calibri"/>
                <a:ea typeface="+mj-ea"/>
                <a:cs typeface="+mj-cs"/>
              </a:rPr>
              <a:t>     Кетчуп </a:t>
            </a:r>
            <a:r>
              <a:rPr lang="ru-RU" sz="2600" b="1" dirty="0">
                <a:solidFill>
                  <a:srgbClr val="FFFFFF"/>
                </a:solidFill>
                <a:latin typeface="Calibri"/>
                <a:ea typeface="+mj-ea"/>
                <a:cs typeface="+mj-cs"/>
              </a:rPr>
              <a:t>ХАЙНЦ</a:t>
            </a:r>
            <a:r>
              <a:rPr lang="en-US" sz="2600" b="1" dirty="0">
                <a:solidFill>
                  <a:srgbClr val="FFFFFF"/>
                </a:solidFill>
                <a:latin typeface="Calibri"/>
                <a:ea typeface="+mj-ea"/>
                <a:cs typeface="+mj-cs"/>
              </a:rPr>
              <a:t>– </a:t>
            </a:r>
            <a:r>
              <a:rPr lang="ru-RU" sz="2600" b="1" dirty="0">
                <a:solidFill>
                  <a:srgbClr val="FFFFFF"/>
                </a:solidFill>
                <a:latin typeface="Calibri"/>
                <a:ea typeface="+mj-ea"/>
                <a:cs typeface="+mj-cs"/>
              </a:rPr>
              <a:t>лидирующие позиции!</a:t>
            </a:r>
          </a:p>
        </p:txBody>
      </p: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4191000" y="6642100"/>
            <a:ext cx="49530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800" dirty="0" smtClean="0"/>
              <a:t>*My World’s Favorite Ketchup by </a:t>
            </a:r>
            <a:r>
              <a:rPr lang="en-US" altLang="en-US" sz="800" dirty="0" err="1" smtClean="0"/>
              <a:t>Euromonitor</a:t>
            </a:r>
            <a:r>
              <a:rPr lang="en-US" altLang="en-US" sz="800" dirty="0" smtClean="0"/>
              <a:t>, June 2013. Value share in %.</a:t>
            </a:r>
            <a:endParaRPr lang="en-US" altLang="en-US" sz="800" dirty="0"/>
          </a:p>
        </p:txBody>
      </p:sp>
      <p:sp>
        <p:nvSpPr>
          <p:cNvPr id="33" name="Скругленная прямоугольная выноска 16"/>
          <p:cNvSpPr/>
          <p:nvPr/>
        </p:nvSpPr>
        <p:spPr bwMode="auto">
          <a:xfrm>
            <a:off x="2542342" y="3118403"/>
            <a:ext cx="1295400" cy="457200"/>
          </a:xfrm>
          <a:prstGeom prst="wedgeRoundRectCallout">
            <a:avLst>
              <a:gd name="adj1" fmla="val 73925"/>
              <a:gd name="adj2" fmla="val -132347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466142" y="3121223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#</a:t>
            </a:r>
            <a:r>
              <a:rPr lang="ru-RU" sz="1400" b="1" dirty="0" smtClean="0"/>
              <a:t>1 </a:t>
            </a:r>
            <a:r>
              <a:rPr lang="en-US" sz="1400" b="1" dirty="0" smtClean="0"/>
              <a:t>in Spain 39</a:t>
            </a:r>
            <a:r>
              <a:rPr lang="ru-RU" sz="1400" b="1" dirty="0" smtClean="0"/>
              <a:t>% </a:t>
            </a:r>
            <a:endParaRPr lang="en-US" sz="1400" b="1" dirty="0"/>
          </a:p>
        </p:txBody>
      </p:sp>
      <p:sp>
        <p:nvSpPr>
          <p:cNvPr id="36" name="Скругленная прямоугольная выноска 16"/>
          <p:cNvSpPr/>
          <p:nvPr/>
        </p:nvSpPr>
        <p:spPr bwMode="auto">
          <a:xfrm>
            <a:off x="2616926" y="2378481"/>
            <a:ext cx="1143000" cy="504056"/>
          </a:xfrm>
          <a:prstGeom prst="wedgeRoundRectCallout">
            <a:avLst>
              <a:gd name="adj1" fmla="val 85233"/>
              <a:gd name="adj2" fmla="val -26094"/>
              <a:gd name="adj3" fmla="val 16667"/>
            </a:avLst>
          </a:prstGeom>
          <a:noFill/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616926" y="2375263"/>
            <a:ext cx="1143000" cy="492443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#</a:t>
            </a:r>
            <a:r>
              <a:rPr lang="ru-RU" sz="1200" b="1" dirty="0" smtClean="0"/>
              <a:t>1 </a:t>
            </a:r>
            <a:r>
              <a:rPr lang="en-US" sz="1200" b="1" dirty="0" smtClean="0"/>
              <a:t>in France 39</a:t>
            </a:r>
            <a:r>
              <a:rPr lang="ru-RU" sz="1200" b="1" dirty="0" smtClean="0"/>
              <a:t>%</a:t>
            </a:r>
            <a:r>
              <a:rPr lang="ru-RU" sz="1400" b="1" dirty="0" smtClean="0"/>
              <a:t> </a:t>
            </a:r>
            <a:endParaRPr lang="en-US" sz="14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56094" y="5877272"/>
            <a:ext cx="86593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srgbClr val="FFFFFF"/>
                </a:solidFill>
                <a:latin typeface="Calibri"/>
              </a:rPr>
              <a:t>Кетчуп ХАЙНЦ</a:t>
            </a:r>
            <a:r>
              <a:rPr lang="en-US" sz="2000" b="1" dirty="0">
                <a:solidFill>
                  <a:srgbClr val="FFFFFF"/>
                </a:solidFill>
                <a:latin typeface="Calibri"/>
              </a:rPr>
              <a:t>– </a:t>
            </a:r>
            <a:r>
              <a:rPr lang="ru-RU" sz="2000" b="1" dirty="0">
                <a:solidFill>
                  <a:srgbClr val="FFFFFF"/>
                </a:solidFill>
                <a:latin typeface="Calibri"/>
              </a:rPr>
              <a:t>лидирующие позиции!</a:t>
            </a:r>
          </a:p>
        </p:txBody>
      </p:sp>
      <p:sp>
        <p:nvSpPr>
          <p:cNvPr id="26" name="Tekstvak 45"/>
          <p:cNvSpPr txBox="1">
            <a:spLocks noChangeArrowheads="1"/>
          </p:cNvSpPr>
          <p:nvPr/>
        </p:nvSpPr>
        <p:spPr bwMode="auto">
          <a:xfrm>
            <a:off x="214811" y="6021288"/>
            <a:ext cx="871296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600" dirty="0">
                <a:solidFill>
                  <a:srgbClr val="C00000"/>
                </a:solidFill>
                <a:latin typeface="Calibri"/>
                <a:ea typeface="Osaka"/>
                <a:cs typeface="Osaka"/>
              </a:rPr>
              <a:t> </a:t>
            </a:r>
            <a:r>
              <a:rPr lang="ru-RU" sz="2600" dirty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Доля в Топ 10 странах</a:t>
            </a:r>
            <a:r>
              <a:rPr lang="en-US" sz="2600" dirty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 </a:t>
            </a:r>
            <a:r>
              <a:rPr lang="en-US" sz="2600" dirty="0" smtClean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52</a:t>
            </a:r>
            <a:r>
              <a:rPr lang="ru-RU" sz="2600" dirty="0" smtClean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%. Глобальная </a:t>
            </a:r>
            <a:r>
              <a:rPr lang="ru-RU" sz="2600" dirty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доля рынка </a:t>
            </a:r>
            <a:r>
              <a:rPr lang="en-US" sz="2600" dirty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26</a:t>
            </a:r>
            <a:r>
              <a:rPr lang="en-US" sz="2600" dirty="0" smtClean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%</a:t>
            </a:r>
            <a:r>
              <a:rPr lang="ru-RU" sz="1400" dirty="0">
                <a:solidFill>
                  <a:srgbClr val="FF0000"/>
                </a:solidFill>
                <a:latin typeface="Calibri"/>
                <a:ea typeface="Osaka"/>
                <a:cs typeface="Osaka"/>
              </a:rPr>
              <a:t>.</a:t>
            </a:r>
            <a:endParaRPr lang="en-US" sz="2600" dirty="0">
              <a:solidFill>
                <a:srgbClr val="FF0000"/>
              </a:solidFill>
              <a:latin typeface="Calibri"/>
              <a:ea typeface="Osaka"/>
              <a:cs typeface="Osaka"/>
            </a:endParaRPr>
          </a:p>
        </p:txBody>
      </p:sp>
    </p:spTree>
    <p:extLst>
      <p:ext uri="{BB962C8B-B14F-4D97-AF65-F5344CB8AC3E}">
        <p14:creationId xmlns:p14="http://schemas.microsoft.com/office/powerpoint/2010/main" val="2750127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50924" y="44624"/>
            <a:ext cx="9036496" cy="836712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 smtClean="0">
                <a:solidFill>
                  <a:srgbClr val="FFFFFF"/>
                </a:solidFill>
                <a:latin typeface="Calibri"/>
              </a:rPr>
              <a:t>ХАЙНЦ </a:t>
            </a:r>
            <a:r>
              <a:rPr lang="ru-RU" sz="2600" b="1" dirty="0">
                <a:solidFill>
                  <a:srgbClr val="FFFFFF"/>
                </a:solidFill>
                <a:latin typeface="Calibri"/>
              </a:rPr>
              <a:t>в мир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4338" y="1303338"/>
            <a:ext cx="6240462" cy="6155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07504" y="1270798"/>
            <a:ext cx="8923337" cy="306705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415059" y="4942909"/>
            <a:ext cx="7228454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400" b="0" dirty="0" smtClean="0">
                <a:solidFill>
                  <a:schemeClr val="tx1"/>
                </a:solidFill>
                <a:latin typeface="+mj-lt"/>
              </a:rPr>
              <a:t>72 производственные площадки в 23 странах мира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400" b="0" dirty="0" smtClean="0">
                <a:solidFill>
                  <a:schemeClr val="tx1"/>
                </a:solidFill>
                <a:latin typeface="+mj-lt"/>
              </a:rPr>
              <a:t>Продажи в 200 странах мир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14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7553325" cy="660276"/>
          </a:xfrm>
        </p:spPr>
        <p:txBody>
          <a:bodyPr/>
          <a:lstStyle/>
          <a:p>
            <a:pPr eaLnBrk="1" hangingPunct="1"/>
            <a:r>
              <a:rPr lang="ru-RU" sz="2000" b="1" dirty="0">
                <a:solidFill>
                  <a:srgbClr val="FFFFFF"/>
                </a:solidFill>
                <a:latin typeface="Calibri"/>
              </a:rPr>
              <a:t>ХАЙНЦ</a:t>
            </a:r>
            <a:r>
              <a:rPr lang="en-US" altLang="ru-RU" sz="2000" b="1" dirty="0">
                <a:solidFill>
                  <a:srgbClr val="FFFFFF"/>
                </a:solidFill>
                <a:latin typeface="Calibri"/>
              </a:rPr>
              <a:t> – </a:t>
            </a:r>
            <a:r>
              <a:rPr lang="ru-RU" altLang="ru-RU" sz="2000" b="1" dirty="0">
                <a:solidFill>
                  <a:srgbClr val="FFFFFF"/>
                </a:solidFill>
                <a:latin typeface="Calibri"/>
              </a:rPr>
              <a:t>абсолютный лидер рынка соусов!</a:t>
            </a:r>
            <a:endParaRPr lang="en-US" sz="200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3456737"/>
              </p:ext>
            </p:extLst>
          </p:nvPr>
        </p:nvGraphicFramePr>
        <p:xfrm>
          <a:off x="166056" y="1374163"/>
          <a:ext cx="8786586" cy="5244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868144" y="6641212"/>
            <a:ext cx="30844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AC Nielsen, Sauces Market</a:t>
            </a:r>
            <a:r>
              <a:rPr lang="ru-RU" sz="8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en-US" sz="8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Urban National,</a:t>
            </a:r>
            <a:r>
              <a:rPr lang="ru-RU" sz="8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sz="8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 February 2015</a:t>
            </a:r>
            <a:endParaRPr lang="ru-RU" sz="800" b="1" i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TextBox 9"/>
          <p:cNvSpPr txBox="1">
            <a:spLocks noChangeArrowheads="1"/>
          </p:cNvSpPr>
          <p:nvPr/>
        </p:nvSpPr>
        <p:spPr bwMode="auto">
          <a:xfrm>
            <a:off x="20435" y="1128100"/>
            <a:ext cx="19383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>
            <a:spAutoFit/>
          </a:bodyPr>
          <a:lstStyle>
            <a:lvl1pPr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§"/>
              <a:defRPr sz="2200" b="1">
                <a:solidFill>
                  <a:srgbClr val="6B6B6B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85000"/>
              </a:lnSpc>
              <a:spcBef>
                <a:spcPct val="45000"/>
              </a:spcBef>
              <a:buClr>
                <a:srgbClr val="E60C00"/>
              </a:buClr>
              <a:buChar char="•"/>
              <a:defRPr sz="2000">
                <a:solidFill>
                  <a:srgbClr val="6B6B6B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E60C00"/>
              </a:buClr>
              <a:buFont typeface="Arial" charset="0"/>
              <a:buChar char="»"/>
              <a:defRPr>
                <a:solidFill>
                  <a:srgbClr val="6B6B6B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§"/>
              <a:defRPr sz="1600">
                <a:solidFill>
                  <a:srgbClr val="6B6B6B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85000"/>
              </a:lnSpc>
              <a:spcBef>
                <a:spcPct val="45000"/>
              </a:spcBef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  <a:defRPr sz="1400">
                <a:solidFill>
                  <a:srgbClr val="6B6B6B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000" i="1" dirty="0">
                <a:solidFill>
                  <a:srgbClr val="4F6228"/>
                </a:solidFill>
                <a:latin typeface="Verdana" pitchFamily="34" charset="0"/>
              </a:rPr>
              <a:t>Sauces Value Share, %</a:t>
            </a:r>
            <a:endParaRPr lang="ru-RU" altLang="en-US" sz="1000" i="1" dirty="0">
              <a:solidFill>
                <a:srgbClr val="4F6228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24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738864" cy="874713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>
                <a:solidFill>
                  <a:srgbClr val="FFFFFF"/>
                </a:solidFill>
                <a:latin typeface="Calibri"/>
              </a:rPr>
              <a:t>Томатный кетчуп </a:t>
            </a:r>
            <a:r>
              <a:rPr lang="ru-RU" sz="2600" b="1" dirty="0" smtClean="0">
                <a:solidFill>
                  <a:srgbClr val="FFFFFF"/>
                </a:solidFill>
                <a:latin typeface="Calibri"/>
              </a:rPr>
              <a:t>ХАЙНЦ</a:t>
            </a:r>
            <a:endParaRPr lang="ru-RU" sz="2600" b="1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098" name="Picture 2" descr="C:\Documents and Settings\ksemenova\My Documents\Marketing\pics\Products\43_D_06_12_Slide_Heinz_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1116808"/>
            <a:ext cx="4737259" cy="339231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4653675" y="1268760"/>
            <a:ext cx="408947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Кетчуп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Хайнц —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амый известный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етчуп в мире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создан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на основ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натуральных ингредиентов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Он не содержит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искусственных ароматизаторов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красителей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консервантов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и крахмала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Секрет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уникального вкуса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етчупа Хайнц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— в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использовании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пециально выращенных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сортов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томатов с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овышенным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одержанием пектина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и </a:t>
            </a: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ликопина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.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6831" y="4382219"/>
            <a:ext cx="3010620" cy="2179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51520" y="4590432"/>
            <a:ext cx="468052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 отличие от других кетчупов </a:t>
            </a:r>
            <a:r>
              <a:rPr lang="ru-RU" sz="1600" u="sng" dirty="0">
                <a:solidFill>
                  <a:srgbClr val="FF0000"/>
                </a:solidFill>
              </a:rPr>
              <a:t>Хайнц не содержит: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ru-RU" sz="1600" dirty="0"/>
              <a:t>искусственных ароматизаторов 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ru-RU" sz="1600" dirty="0"/>
              <a:t>красителей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ru-RU" sz="1600" dirty="0"/>
              <a:t>консервантов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ru-RU" sz="1600" dirty="0"/>
              <a:t>крахмала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ru-RU" sz="1600" dirty="0"/>
              <a:t>ГМО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0028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7666856" cy="874713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>
                <a:solidFill>
                  <a:srgbClr val="FFFFFF"/>
                </a:solidFill>
                <a:latin typeface="Calibri"/>
              </a:rPr>
              <a:t>Порционные соусы </a:t>
            </a:r>
            <a:r>
              <a:rPr lang="ru-RU" sz="2600" b="1" dirty="0" smtClean="0">
                <a:solidFill>
                  <a:srgbClr val="FFFFFF"/>
                </a:solidFill>
                <a:latin typeface="Calibri"/>
              </a:rPr>
              <a:t>ХАЙНЦ</a:t>
            </a:r>
            <a:endParaRPr lang="ru-RU" sz="2600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5421" y="1110053"/>
            <a:ext cx="5257831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tx1"/>
                </a:solidFill>
                <a:latin typeface="+mj-lt"/>
              </a:rPr>
              <a:t>Дип-поты Хайнц</a:t>
            </a:r>
            <a:endParaRPr lang="en-US" sz="1800" b="1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Дип-поты Хайнц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екрасно подходят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формату шведского стола и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для раздаточных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линий общественного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ита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Широкая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линейка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вкусов подчеркнет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любо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блюдо из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Вашего меню. </a:t>
            </a:r>
            <a:endParaRPr lang="ru-RU" sz="1600" b="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орционные соусы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— идеально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дополнение к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артофелю фри, </a:t>
            </a: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нагетсам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сухарикам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и другим снекам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2424" y="5183888"/>
            <a:ext cx="6245799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800" b="1" dirty="0" smtClean="0">
              <a:solidFill>
                <a:schemeClr val="tx1"/>
              </a:solidFill>
              <a:latin typeface="+mj-lt"/>
            </a:endParaRPr>
          </a:p>
          <a:p>
            <a:r>
              <a:rPr lang="ru-RU" sz="1800" b="1" dirty="0" err="1" smtClean="0">
                <a:solidFill>
                  <a:schemeClr val="tx1"/>
                </a:solidFill>
                <a:latin typeface="+mj-lt"/>
              </a:rPr>
              <a:t>Сашеты</a:t>
            </a:r>
            <a:r>
              <a:rPr lang="ru-RU" sz="1800" b="1" dirty="0" smtClean="0">
                <a:solidFill>
                  <a:schemeClr val="tx1"/>
                </a:solidFill>
                <a:latin typeface="+mj-lt"/>
              </a:rPr>
              <a:t> Хайнц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оевый соус ,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томатный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 кетчуп, майонезный соус</a:t>
            </a:r>
            <a:endParaRPr lang="en-US" sz="1600" b="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Удобная упаковка </a:t>
            </a:r>
            <a:r>
              <a:rPr lang="en-US" sz="1600" b="0" dirty="0" smtClean="0">
                <a:solidFill>
                  <a:schemeClr val="tx1"/>
                </a:solidFill>
                <a:latin typeface="+mj-lt"/>
              </a:rPr>
              <a:t>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Качественный продукт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123" name="Picture 3" descr="C:\Documents and Settings\ksemenova\My Documents\Marketing\pics\Products\sachet 1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0272" y="5589240"/>
            <a:ext cx="524401" cy="1099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Documents and Settings\ksemenova\My Documents\Marketing\pics\Products\Soy sauce sachet 10 g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0296" y="5575631"/>
            <a:ext cx="541254" cy="111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Овал 4"/>
          <p:cNvSpPr/>
          <p:nvPr/>
        </p:nvSpPr>
        <p:spPr bwMode="auto">
          <a:xfrm>
            <a:off x="5412128" y="3067662"/>
            <a:ext cx="851382" cy="62182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327481"/>
              </p:ext>
            </p:extLst>
          </p:nvPr>
        </p:nvGraphicFramePr>
        <p:xfrm>
          <a:off x="467544" y="3392284"/>
          <a:ext cx="7056784" cy="2052941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133012"/>
                <a:gridCol w="1115460"/>
                <a:gridCol w="2808312"/>
              </a:tblGrid>
              <a:tr h="20890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мл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13098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томатный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рбек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ь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ю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+2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681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Сырный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3504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йонез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вансаль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67%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 5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3212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етчуп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Томат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 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°С- 6 мес.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68580" marR="68580" marT="0" marB="0"/>
                </a:tc>
              </a:tr>
              <a:tr h="14401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Карри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401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орчич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2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о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401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Чесночный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401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Кисло-сладкий оригинальны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2°С до 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°С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4356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Сальса Ж/О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т +2°С до +30°С- 6 мес.</a:t>
                      </a:r>
                    </a:p>
                  </a:txBody>
                  <a:tcPr marL="68580" marR="68580" marT="0" marB="0"/>
                </a:tc>
              </a:tr>
              <a:tr h="14401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рбекью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с дымком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т +2°С до +30°С- 6 мес.</a:t>
                      </a:r>
                    </a:p>
                  </a:txBody>
                  <a:tcPr marL="68580" marR="68580" marT="0" marB="0"/>
                </a:tc>
              </a:tr>
              <a:tr h="11076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деликатесный Терияки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т +2°С до +30°С- 6 мес.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244561"/>
            <a:ext cx="2952328" cy="2115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 descr="\\seumskfp001\Groups\Foodservice\Heinz FS Moscow\NPD\Egypt\Labels\Soya_soshet_mayonez_Egipe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146" y="5575631"/>
            <a:ext cx="481334" cy="111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00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213"/>
            <a:ext cx="7738864" cy="874713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600" b="1" dirty="0">
                <a:solidFill>
                  <a:srgbClr val="FFFFFF"/>
                </a:solidFill>
                <a:latin typeface="Calibri"/>
              </a:rPr>
              <a:t>Соусы </a:t>
            </a:r>
            <a:r>
              <a:rPr lang="ru-RU" sz="2600" b="1" dirty="0" smtClean="0">
                <a:solidFill>
                  <a:srgbClr val="FFFFFF"/>
                </a:solidFill>
                <a:latin typeface="Calibri"/>
              </a:rPr>
              <a:t>ХАЙНЦ </a:t>
            </a:r>
            <a:r>
              <a:rPr lang="ru-RU" sz="2600" b="1" dirty="0">
                <a:solidFill>
                  <a:srgbClr val="FFFFFF"/>
                </a:solidFill>
                <a:latin typeface="Calibri"/>
              </a:rPr>
              <a:t>в балке</a:t>
            </a:r>
            <a:r>
              <a:rPr lang="en-US" sz="2600" b="1" dirty="0">
                <a:solidFill>
                  <a:srgbClr val="FFFFFF"/>
                </a:solidFill>
                <a:latin typeface="Calibri"/>
              </a:rPr>
              <a:t> </a:t>
            </a:r>
            <a:r>
              <a:rPr lang="ru-RU" sz="2600" b="1" dirty="0">
                <a:solidFill>
                  <a:srgbClr val="FFFFFF"/>
                </a:solidFill>
                <a:latin typeface="Calibri"/>
              </a:rPr>
              <a:t>с дозатором </a:t>
            </a: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0152" y="4192893"/>
            <a:ext cx="3035070" cy="236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96814" y="1093376"/>
            <a:ext cx="530524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+mj-lt"/>
              </a:rPr>
              <a:t>Соусы </a:t>
            </a:r>
            <a:r>
              <a:rPr lang="ru-RU" sz="1800" b="1" dirty="0" smtClean="0">
                <a:solidFill>
                  <a:schemeClr val="tx1"/>
                </a:solidFill>
                <a:latin typeface="+mj-lt"/>
              </a:rPr>
              <a:t>Хайнц </a:t>
            </a:r>
            <a:r>
              <a:rPr lang="en-US" sz="1800" b="1" dirty="0" smtClean="0">
                <a:solidFill>
                  <a:schemeClr val="tx1"/>
                </a:solidFill>
                <a:latin typeface="+mj-lt"/>
              </a:rPr>
              <a:t>2 </a:t>
            </a:r>
            <a:r>
              <a:rPr lang="ru-RU" sz="1800" b="1" dirty="0" smtClean="0">
                <a:solidFill>
                  <a:schemeClr val="tx1"/>
                </a:solidFill>
                <a:latin typeface="+mj-lt"/>
              </a:rPr>
              <a:t>кг</a:t>
            </a:r>
            <a:r>
              <a:rPr lang="en-US" sz="1800" b="1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b="1" dirty="0" smtClean="0">
                <a:solidFill>
                  <a:schemeClr val="tx1"/>
                </a:solidFill>
                <a:latin typeface="+mj-lt"/>
              </a:rPr>
              <a:t>в балке с дозатором </a:t>
            </a:r>
            <a:endParaRPr lang="en-US" sz="1800" b="1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4 вкуса – томатный кетчуп, майонезный, горчичный и Цезарь соусы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актичное решение для </a:t>
            </a:r>
            <a:r>
              <a:rPr lang="ru-RU" sz="1600" b="0" dirty="0" err="1">
                <a:solidFill>
                  <a:schemeClr val="tx1"/>
                </a:solidFill>
                <a:latin typeface="+mj-lt"/>
              </a:rPr>
              <a:t>фудкортов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600" b="0" dirty="0" err="1" smtClean="0">
                <a:solidFill>
                  <a:schemeClr val="tx1"/>
                </a:solidFill>
                <a:latin typeface="+mj-lt"/>
              </a:rPr>
              <a:t>кейтеринга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шведских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столов и кафе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быстрого обслуживания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. </a:t>
            </a:r>
            <a:endParaRPr lang="ru-RU" sz="1600" b="0" dirty="0" smtClean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Герметичный пакет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с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оусом соединяется через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оннектор с диспенсером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 обеспечивая максимальную гигиеническую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защиту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родукта и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легкость в работе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Диспенсер гарантирует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точную порцию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ри дозировании — 30 г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. 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600" b="0" dirty="0">
                <a:solidFill>
                  <a:schemeClr val="tx1"/>
                </a:solidFill>
                <a:latin typeface="+mj-lt"/>
              </a:rPr>
              <a:t>Продукт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расходуется без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отерь — до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оследней капельки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.</a:t>
            </a:r>
            <a:endParaRPr lang="en-US" sz="1600" dirty="0" smtClean="0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902378"/>
              </p:ext>
            </p:extLst>
          </p:nvPr>
        </p:nvGraphicFramePr>
        <p:xfrm>
          <a:off x="467544" y="4581128"/>
          <a:ext cx="4968552" cy="1464051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40555"/>
                <a:gridCol w="955789"/>
                <a:gridCol w="1872208"/>
              </a:tblGrid>
              <a:tr h="21568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г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28836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орчич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2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о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</a:p>
                  </a:txBody>
                  <a:tcPr marL="68580" marR="68580" marT="0" marB="0"/>
                </a:tc>
              </a:tr>
              <a:tr h="28827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майонезный Легкий 28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4°С-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 мес.</a:t>
                      </a:r>
                    </a:p>
                  </a:txBody>
                  <a:tcPr marL="68580" marR="68580" marT="0" marB="0"/>
                </a:tc>
              </a:tr>
              <a:tr h="27304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етчуп томатны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</a:p>
                  </a:txBody>
                  <a:tcPr marL="68580" marR="68580" marT="0" marB="0"/>
                </a:tc>
              </a:tr>
              <a:tr h="35176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правка Цезарь для салата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00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о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054" y="1431558"/>
            <a:ext cx="3618630" cy="2411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073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8021" y="2023719"/>
            <a:ext cx="1304046" cy="90122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4976" y="1170473"/>
            <a:ext cx="1189316" cy="79985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07504" y="1068192"/>
            <a:ext cx="806489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  <a:latin typeface="+mj-lt"/>
              </a:rPr>
              <a:t>Соусы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пособны значительно расширить и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украсить любое меню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. Экономичная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упаковка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занимает минимум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места и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идеально подходит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для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использования на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кухне. </a:t>
            </a:r>
            <a:endParaRPr lang="ru-RU" sz="1600" b="0" dirty="0" smtClean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Соус </a:t>
            </a:r>
            <a:r>
              <a:rPr lang="ru-RU" sz="1600" b="1" dirty="0" err="1" smtClean="0">
                <a:solidFill>
                  <a:schemeClr val="tx1"/>
                </a:solidFill>
                <a:latin typeface="+mj-lt"/>
              </a:rPr>
              <a:t>Барбекью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 незаменим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при мариновании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,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Чесночном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 можно 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запечь любое блюдо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.</a:t>
            </a:r>
            <a:endParaRPr lang="ru-RU" sz="1600" b="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  <a:latin typeface="+mj-lt"/>
              </a:rPr>
              <a:t>Сырный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 соус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разнообразит салаты</a:t>
            </a:r>
            <a:r>
              <a:rPr lang="ru-RU" sz="1600" b="0" dirty="0">
                <a:solidFill>
                  <a:schemeClr val="tx1"/>
                </a:solidFill>
                <a:latin typeface="+mj-lt"/>
              </a:rPr>
              <a:t>, пасты и </a:t>
            </a:r>
            <a:r>
              <a:rPr lang="ru-RU" sz="1600" b="0" dirty="0" smtClean="0">
                <a:solidFill>
                  <a:schemeClr val="tx1"/>
                </a:solidFill>
                <a:latin typeface="+mj-lt"/>
              </a:rPr>
              <a:t>пиццу</a:t>
            </a:r>
            <a:r>
              <a:rPr lang="ru-RU" sz="1600" dirty="0" smtClean="0">
                <a:latin typeface="+mj-lt"/>
              </a:rPr>
              <a:t>.</a:t>
            </a:r>
            <a:endParaRPr lang="en-US" sz="1600" b="0" dirty="0" smtClean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latin typeface="+mj-lt"/>
              </a:rPr>
              <a:t>Соус</a:t>
            </a:r>
            <a:r>
              <a:rPr lang="ru-RU" sz="1600" b="1" dirty="0">
                <a:latin typeface="+mj-lt"/>
              </a:rPr>
              <a:t> Терияки </a:t>
            </a:r>
            <a:r>
              <a:rPr lang="ru-RU" sz="1600" dirty="0"/>
              <a:t>отлично подходит </a:t>
            </a:r>
            <a:r>
              <a:rPr lang="ru-RU" sz="1600" dirty="0" smtClean="0"/>
              <a:t>к птице</a:t>
            </a:r>
            <a:r>
              <a:rPr lang="ru-RU" sz="1600" dirty="0"/>
              <a:t>, мясным и рыбным блюдам, </a:t>
            </a:r>
            <a:endParaRPr lang="ru-RU" sz="1600" dirty="0" smtClean="0"/>
          </a:p>
          <a:p>
            <a:r>
              <a:rPr lang="ru-RU" sz="1600" dirty="0" smtClean="0"/>
              <a:t>придавая </a:t>
            </a:r>
            <a:r>
              <a:rPr lang="ru-RU" sz="1600" dirty="0"/>
              <a:t>аппетитную золотистую глазурь и оригинальный вкус</a:t>
            </a:r>
            <a:endParaRPr lang="ru-RU" sz="1600" dirty="0" smtClean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latin typeface="+mj-lt"/>
              </a:rPr>
              <a:t>Соус </a:t>
            </a:r>
            <a:r>
              <a:rPr lang="ru-RU" sz="1600" b="1" dirty="0" smtClean="0">
                <a:latin typeface="+mj-lt"/>
              </a:rPr>
              <a:t>Карри</a:t>
            </a:r>
            <a:r>
              <a:rPr lang="ru-RU" sz="1600" dirty="0" smtClean="0">
                <a:latin typeface="+mj-lt"/>
              </a:rPr>
              <a:t> используем для </a:t>
            </a:r>
            <a:r>
              <a:rPr lang="ru-RU" sz="1600" dirty="0">
                <a:latin typeface="+mj-lt"/>
              </a:rPr>
              <a:t>маринада с добавлением соевого </a:t>
            </a:r>
            <a:r>
              <a:rPr lang="ru-RU" sz="1600" dirty="0" smtClean="0">
                <a:latin typeface="+mj-lt"/>
              </a:rPr>
              <a:t>соуса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altLang="ru-RU" sz="1600" dirty="0">
                <a:latin typeface="+mj-lt"/>
              </a:rPr>
              <a:t>Соус </a:t>
            </a:r>
            <a:r>
              <a:rPr lang="ru-RU" altLang="ru-RU" sz="1600" b="1" dirty="0" smtClean="0">
                <a:latin typeface="+mj-lt"/>
              </a:rPr>
              <a:t>Тысяча островов </a:t>
            </a:r>
            <a:r>
              <a:rPr lang="ru-RU" altLang="ru-RU" sz="1600" dirty="0">
                <a:latin typeface="+mj-lt"/>
              </a:rPr>
              <a:t>–  классический соус для салатов в американской кухне</a:t>
            </a:r>
            <a:endParaRPr lang="ru-RU" sz="1600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6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218" name="Picture 2" descr="C:\Documents and Settings\vdyachkova\My Documents\Designs\CP_STr_R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5595667"/>
            <a:ext cx="2044641" cy="1066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386993" y="13571"/>
            <a:ext cx="7199312" cy="8747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54000" tIns="44450" rIns="18000" bIns="44450" numCol="1" anchor="b" anchorCtr="0" compatLnSpc="1">
            <a:prstTxWarp prst="textNoShape">
              <a:avLst/>
            </a:prstTxWarp>
          </a:bodyPr>
          <a:lstStyle>
            <a:lvl1pPr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Calibri" pitchFamily="34" charset="0"/>
              </a:defRPr>
            </a:lvl6pPr>
            <a:lvl7pPr marL="914400"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defTabSz="7620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dirty="0" smtClean="0"/>
              <a:t>Соусы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Х</a:t>
            </a:r>
            <a:r>
              <a:rPr lang="ru-RU" dirty="0" smtClean="0">
                <a:latin typeface="Calibri" panose="020F0502020204030204" pitchFamily="34" charset="0"/>
                <a:cs typeface="Calibri" panose="020F0502020204030204" pitchFamily="34" charset="0"/>
              </a:rPr>
              <a:t>АЙНЦ</a:t>
            </a:r>
            <a:r>
              <a:rPr lang="ru-RU" dirty="0" smtClean="0"/>
              <a:t> в балке, 1 кг</a:t>
            </a:r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3104" y="2996952"/>
            <a:ext cx="1298963" cy="864096"/>
          </a:xfrm>
          <a:prstGeom prst="rect">
            <a:avLst/>
          </a:prstGeom>
        </p:spPr>
      </p:pic>
      <p:pic>
        <p:nvPicPr>
          <p:cNvPr id="9" name="Picture 2" descr="C:\Users\OMinchen\AppData\Local\Microsoft\Windows\Temporary Internet Files\Content.Outlook\230QM5E6\Teriyak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295" y="3910483"/>
            <a:ext cx="1287208" cy="927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\\seumskfp001\Users\Foodservice\FS PRODUCT PHOTOS\Bulks\Mustard_1k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294" y="4805105"/>
            <a:ext cx="1332353" cy="92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463081"/>
              </p:ext>
            </p:extLst>
          </p:nvPr>
        </p:nvGraphicFramePr>
        <p:xfrm>
          <a:off x="251520" y="3861048"/>
          <a:ext cx="6480720" cy="1701249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028913"/>
                <a:gridCol w="931527"/>
                <a:gridCol w="2520280"/>
              </a:tblGrid>
              <a:tr h="192489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ес нетто,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Условия хранения</a:t>
                      </a:r>
                    </a:p>
                  </a:txBody>
                  <a:tcPr marL="68580" marR="68580" marT="0" marB="0">
                    <a:solidFill>
                      <a:srgbClr val="FF9999"/>
                    </a:solidFill>
                  </a:tcPr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томатный </a:t>
                      </a:r>
                      <a:r>
                        <a:rPr lang="en-GB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рбек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ь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ю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ассически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+2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Сырный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Цезарь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°С до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4°С- 6 мес.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Карри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орчич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2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 </a:t>
                      </a: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о 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Чесночный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 0°С до +</a:t>
                      </a:r>
                      <a:r>
                        <a:rPr lang="en-GB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°С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Кисло-сладкий оригинальны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т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+2°С до +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°С- 6 мес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Сальса Ж/О оригинальный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 от +2°С до +30°С- 6 мес.</a:t>
                      </a:r>
                    </a:p>
                  </a:txBody>
                  <a:tcPr marL="68580" marR="68580" marT="0" marB="0"/>
                </a:tc>
              </a:tr>
              <a:tr h="153594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оус деликатесный Терияки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0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   от +2°С до +30°С- 6 мес.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295" y="5703655"/>
            <a:ext cx="1287208" cy="965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271" y="5667718"/>
            <a:ext cx="1326971" cy="994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2461" y="5655864"/>
            <a:ext cx="1390402" cy="1006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5704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jZbWYrnUadh2fC.Lhj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OpvFDPka5YzSYFFAQ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Y9hAju8U6HSAP4TC.v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h5gWS3n0qkNbbLrQpj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FSrqqAZUiNg5HikXwr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QmF7cFUOwKxwzSXrY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seMAmnBEut0oQrMDdS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FSrqqAZUiNg5HikXwr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Lq6iqL0iPpbT7ulCj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cp7AITDUGbFDgZCh9r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FSrqqAZUiNg5HikXwr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QmF7cFUOwKxwzSXrY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seMAmnBEut0oQrMDdS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Lq6iqL0iPpbT7ulCj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jZbWYrnUadh2fC.Lhj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OpvFDPka5YzSYFFAQ6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Y9hAju8U6HSAP4TC.v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h5gWS3n0qkNbbLrQpj5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Lq6iqL0iPpbT7ulCjv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GcBoIpY0.RgVgyZq4hg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MeYsEUfEaQ8SJ_qUA28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Qi2fzvrU6zALSO6fMQIw"/>
</p:tagLst>
</file>

<file path=ppt/theme/theme1.xml><?xml version="1.0" encoding="utf-8"?>
<a:theme xmlns:a="http://schemas.openxmlformats.org/drawingml/2006/main" name="5_default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defaul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defaul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Heinz ketchup">
  <a:themeElements>
    <a:clrScheme name="US98Book 4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9999FF"/>
      </a:accent1>
      <a:accent2>
        <a:srgbClr val="00997C"/>
      </a:accent2>
      <a:accent3>
        <a:srgbClr val="FFFFFF"/>
      </a:accent3>
      <a:accent4>
        <a:srgbClr val="000000"/>
      </a:accent4>
      <a:accent5>
        <a:srgbClr val="CACAFF"/>
      </a:accent5>
      <a:accent6>
        <a:srgbClr val="008A70"/>
      </a:accent6>
      <a:hlink>
        <a:srgbClr val="C6A00C"/>
      </a:hlink>
      <a:folHlink>
        <a:srgbClr val="931638"/>
      </a:folHlink>
    </a:clrScheme>
    <a:fontScheme name="US98B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1">
                <a:alpha val="50000"/>
              </a:schemeClr>
            </a:gs>
            <a:gs pos="100000">
              <a:srgbClr val="DDDDDD">
                <a:alpha val="50000"/>
              </a:srgbClr>
            </a:gs>
          </a:gsLst>
          <a:lin ang="5400000" scaled="1"/>
        </a:gradFill>
        <a:ln w="9525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0" tIns="0" rIns="45720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30000"/>
          </a:spcBef>
          <a:spcAft>
            <a:spcPct val="0"/>
          </a:spcAft>
          <a:buClr>
            <a:schemeClr val="bg1"/>
          </a:buClr>
          <a:buSzTx/>
          <a:buFont typeface="Arial" charset="0"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1">
                <a:alpha val="50000"/>
              </a:schemeClr>
            </a:gs>
            <a:gs pos="100000">
              <a:srgbClr val="DDDDDD">
                <a:alpha val="50000"/>
              </a:srgbClr>
            </a:gs>
          </a:gsLst>
          <a:lin ang="5400000" scaled="1"/>
        </a:gradFill>
        <a:ln w="9525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0" tIns="0" rIns="45720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30000"/>
          </a:spcBef>
          <a:spcAft>
            <a:spcPct val="0"/>
          </a:spcAft>
          <a:buClr>
            <a:schemeClr val="bg1"/>
          </a:buClr>
          <a:buSzTx/>
          <a:buFont typeface="Arial" charset="0"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S98Book 1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666666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8A8A8A"/>
        </a:accent6>
        <a:hlink>
          <a:srgbClr val="CCCCCC"/>
        </a:hlink>
        <a:folHlink>
          <a:srgbClr val="E6E6E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98Book 2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0051BA"/>
        </a:accent1>
        <a:accent2>
          <a:srgbClr val="00997C"/>
        </a:accent2>
        <a:accent3>
          <a:srgbClr val="FFFFFF"/>
        </a:accent3>
        <a:accent4>
          <a:srgbClr val="000000"/>
        </a:accent4>
        <a:accent5>
          <a:srgbClr val="AAB3D9"/>
        </a:accent5>
        <a:accent6>
          <a:srgbClr val="008A70"/>
        </a:accent6>
        <a:hlink>
          <a:srgbClr val="C6A00C"/>
        </a:hlink>
        <a:folHlink>
          <a:srgbClr val="93163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98Book 3">
        <a:dk1>
          <a:srgbClr val="969696"/>
        </a:dk1>
        <a:lt1>
          <a:srgbClr val="FFFFFF"/>
        </a:lt1>
        <a:dk2>
          <a:srgbClr val="00197D"/>
        </a:dk2>
        <a:lt2>
          <a:srgbClr val="FFFFFF"/>
        </a:lt2>
        <a:accent1>
          <a:srgbClr val="2257EC"/>
        </a:accent1>
        <a:accent2>
          <a:srgbClr val="008000"/>
        </a:accent2>
        <a:accent3>
          <a:srgbClr val="AAABBF"/>
        </a:accent3>
        <a:accent4>
          <a:srgbClr val="DADADA"/>
        </a:accent4>
        <a:accent5>
          <a:srgbClr val="ABB4F4"/>
        </a:accent5>
        <a:accent6>
          <a:srgbClr val="007300"/>
        </a:accent6>
        <a:hlink>
          <a:srgbClr val="907500"/>
        </a:hlink>
        <a:folHlink>
          <a:srgbClr val="92184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98Book 4">
        <a:dk1>
          <a:srgbClr val="000000"/>
        </a:dk1>
        <a:lt1>
          <a:srgbClr val="FFFFFF"/>
        </a:lt1>
        <a:dk2>
          <a:srgbClr val="000000"/>
        </a:dk2>
        <a:lt2>
          <a:srgbClr val="919191"/>
        </a:lt2>
        <a:accent1>
          <a:srgbClr val="9999FF"/>
        </a:accent1>
        <a:accent2>
          <a:srgbClr val="00997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008A70"/>
        </a:accent6>
        <a:hlink>
          <a:srgbClr val="C6A00C"/>
        </a:hlink>
        <a:folHlink>
          <a:srgbClr val="9316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6</TotalTime>
  <Words>2055</Words>
  <Application>Microsoft Office PowerPoint</Application>
  <PresentationFormat>Экран (4:3)</PresentationFormat>
  <Paragraphs>404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3" baseType="lpstr">
      <vt:lpstr>Arial</vt:lpstr>
      <vt:lpstr>Calibri</vt:lpstr>
      <vt:lpstr>Osaka</vt:lpstr>
      <vt:lpstr>Times New Roman</vt:lpstr>
      <vt:lpstr>Verdana</vt:lpstr>
      <vt:lpstr>Wingdings</vt:lpstr>
      <vt:lpstr>5_default</vt:lpstr>
      <vt:lpstr>default</vt:lpstr>
      <vt:lpstr>Heinz ketchup</vt:lpstr>
      <vt:lpstr>think-cell Slide</vt:lpstr>
      <vt:lpstr>Хайнц Фудсервис</vt:lpstr>
      <vt:lpstr>ХАЙНЦ – самый любимый кетчуп в мире</vt:lpstr>
      <vt:lpstr>Презентация PowerPoint</vt:lpstr>
      <vt:lpstr>ХАЙНЦ в мире</vt:lpstr>
      <vt:lpstr>ХАЙНЦ – абсолютный лидер рынка соусов!</vt:lpstr>
      <vt:lpstr>Томатный кетчуп ХАЙНЦ</vt:lpstr>
      <vt:lpstr>Порционные соусы ХАЙНЦ</vt:lpstr>
      <vt:lpstr>Соусы ХАЙНЦ в балке с дозатором </vt:lpstr>
      <vt:lpstr>Презентация PowerPoint</vt:lpstr>
      <vt:lpstr>Соевый соус ХАЙНЦ</vt:lpstr>
      <vt:lpstr>Консервация ХАЙНЦ</vt:lpstr>
      <vt:lpstr>Майонез ХАЙНЦ</vt:lpstr>
      <vt:lpstr>Соусы </vt:lpstr>
      <vt:lpstr>Презентация PowerPoint</vt:lpstr>
      <vt:lpstr>ХАЙНЦ во главе стола</vt:lpstr>
      <vt:lpstr>Сашеты ХАЙНЦ – отличное решение в воздухе, на земле и на воде!</vt:lpstr>
      <vt:lpstr>ХАЙНЦ XXL – идеальный размер для Вашего бизнеса!</vt:lpstr>
      <vt:lpstr>Детское питание ХАЙНЦ</vt:lpstr>
      <vt:lpstr>Супы ХАЙНЦ</vt:lpstr>
      <vt:lpstr>Острые соусы ХАЙНЦ</vt:lpstr>
      <vt:lpstr>Преимущества ХАЙНЦ Фудсервис?</vt:lpstr>
      <vt:lpstr>Презентация PowerPoint</vt:lpstr>
      <vt:lpstr>Презентация PowerPoint</vt:lpstr>
    </vt:vector>
  </TitlesOfParts>
  <Company>H J Heinz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ODSERVICE</dc:title>
  <dc:creator>vdyachkova</dc:creator>
  <cp:lastModifiedBy>User</cp:lastModifiedBy>
  <cp:revision>82</cp:revision>
  <dcterms:created xsi:type="dcterms:W3CDTF">2013-06-11T09:42:12Z</dcterms:created>
  <dcterms:modified xsi:type="dcterms:W3CDTF">2015-10-09T11:42:49Z</dcterms:modified>
</cp:coreProperties>
</file>